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bookmarkIdSeed="5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1603" r:id="rId5"/>
    <p:sldId id="1641" r:id="rId6"/>
    <p:sldId id="1635" r:id="rId7"/>
    <p:sldId id="1642" r:id="rId8"/>
    <p:sldId id="1643" r:id="rId9"/>
    <p:sldId id="1644" r:id="rId10"/>
    <p:sldId id="1645" r:id="rId11"/>
    <p:sldId id="1646" r:id="rId12"/>
    <p:sldId id="1647" r:id="rId13"/>
    <p:sldId id="1648" r:id="rId14"/>
    <p:sldId id="1649" r:id="rId15"/>
    <p:sldId id="1650" r:id="rId16"/>
    <p:sldId id="1651" r:id="rId17"/>
    <p:sldId id="1652" r:id="rId18"/>
    <p:sldId id="1653" r:id="rId19"/>
    <p:sldId id="1654" r:id="rId20"/>
    <p:sldId id="1655" r:id="rId21"/>
    <p:sldId id="1656" r:id="rId22"/>
    <p:sldId id="1634" r:id="rId23"/>
  </p:sldIdLst>
  <p:sldSz cx="9906000" cy="6858000" type="A4"/>
  <p:notesSz cx="6858000" cy="9926638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88602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77201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465803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954404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004" algn="l" defTabSz="97720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931606" algn="l" defTabSz="97720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420206" algn="l" defTabSz="97720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908807" algn="l" defTabSz="97720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>
          <p15:clr>
            <a:srgbClr val="A4A3A4"/>
          </p15:clr>
        </p15:guide>
        <p15:guide id="2" orient="horz" pos="412">
          <p15:clr>
            <a:srgbClr val="A4A3A4"/>
          </p15:clr>
        </p15:guide>
        <p15:guide id="3" pos="676">
          <p15:clr>
            <a:srgbClr val="A4A3A4"/>
          </p15:clr>
        </p15:guide>
        <p15:guide id="4" pos="4884">
          <p15:clr>
            <a:srgbClr val="A4A3A4"/>
          </p15:clr>
        </p15:guide>
        <p15:guide id="5" pos="5943">
          <p15:clr>
            <a:srgbClr val="A4A3A4"/>
          </p15:clr>
        </p15:guide>
        <p15:guide id="6" pos="2666">
          <p15:clr>
            <a:srgbClr val="A4A3A4"/>
          </p15:clr>
        </p15:guide>
        <p15:guide id="7" pos="468">
          <p15:clr>
            <a:srgbClr val="A4A3A4"/>
          </p15:clr>
        </p15:guide>
        <p15:guide id="8" pos="18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2">
          <p15:clr>
            <a:srgbClr val="A4A3A4"/>
          </p15:clr>
        </p15:guide>
        <p15:guide id="3" orient="horz" pos="3121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3135">
          <p15:clr>
            <a:srgbClr val="A4A3A4"/>
          </p15:clr>
        </p15:guide>
        <p15:guide id="6" pos="2143">
          <p15:clr>
            <a:srgbClr val="A4A3A4"/>
          </p15:clr>
        </p15:guide>
        <p15:guide id="7" orient="horz" pos="3127">
          <p15:clr>
            <a:srgbClr val="A4A3A4"/>
          </p15:clr>
        </p15:guide>
        <p15:guide id="8" orient="horz" pos="3134">
          <p15:clr>
            <a:srgbClr val="A4A3A4"/>
          </p15:clr>
        </p15:guide>
        <p15:guide id="9" pos="2161">
          <p15:clr>
            <a:srgbClr val="A4A3A4"/>
          </p15:clr>
        </p15:guide>
        <p15:guide id="10" pos="2160">
          <p15:clr>
            <a:srgbClr val="A4A3A4"/>
          </p15:clr>
        </p15:guide>
        <p15:guide id="11" pos="216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epu K" initials="DK" lastIdx="2" clrIdx="0"/>
  <p:cmAuthor id="1" name="Unniraj P" initials="UP" lastIdx="2" clrIdx="1"/>
  <p:cmAuthor id="2" name="Daniel Georgescu" initials="DG" lastIdx="2" clrIdx="2">
    <p:extLst>
      <p:ext uri="{19B8F6BF-5375-455C-9EA6-DF929625EA0E}">
        <p15:presenceInfo xmlns:p15="http://schemas.microsoft.com/office/powerpoint/2012/main" userId="S-1-5-21-1606980848-1965331169-1417001333-27484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B0B0"/>
    <a:srgbClr val="A9387A"/>
    <a:srgbClr val="7790B6"/>
    <a:srgbClr val="609600"/>
    <a:srgbClr val="0098DB"/>
    <a:srgbClr val="002244"/>
    <a:srgbClr val="113557"/>
    <a:srgbClr val="E0E6E6"/>
    <a:srgbClr val="FFD999"/>
    <a:srgbClr val="8996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preferSingleView="1">
    <p:restoredLeft sz="14995" autoAdjust="0"/>
    <p:restoredTop sz="87977" autoAdjust="0"/>
  </p:normalViewPr>
  <p:slideViewPr>
    <p:cSldViewPr snapToGrid="0">
      <p:cViewPr varScale="1">
        <p:scale>
          <a:sx n="74" d="100"/>
          <a:sy n="74" d="100"/>
        </p:scale>
        <p:origin x="1493" y="62"/>
      </p:cViewPr>
      <p:guideLst>
        <p:guide orient="horz" pos="3168"/>
        <p:guide orient="horz" pos="412"/>
        <p:guide pos="676"/>
        <p:guide pos="4884"/>
        <p:guide pos="5943"/>
        <p:guide pos="2666"/>
        <p:guide pos="468"/>
        <p:guide pos="18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78" y="108"/>
      </p:cViewPr>
      <p:guideLst>
        <p:guide orient="horz" pos="3128"/>
        <p:guide pos="2142"/>
        <p:guide orient="horz" pos="3121"/>
        <p:guide pos="2141"/>
        <p:guide orient="horz" pos="3135"/>
        <p:guide pos="2143"/>
        <p:guide orient="horz" pos="3127"/>
        <p:guide orient="horz" pos="3134"/>
        <p:guide pos="2161"/>
        <p:guide pos="2160"/>
        <p:guide pos="216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276225" y="622300"/>
            <a:ext cx="6308725" cy="43688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76262" y="5333990"/>
            <a:ext cx="5911959" cy="1352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5844176" y="9540051"/>
            <a:ext cx="544055" cy="1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388161" y="110778"/>
            <a:ext cx="66" cy="123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125544" indent="-123848"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320645" indent="-193404"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456368" indent="-134027"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580214" indent="-122150"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004" algn="l" defTabSz="9772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31606" algn="l" defTabSz="9772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20206" algn="l" defTabSz="9772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8807" algn="l" defTabSz="9772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smtClean="0"/>
              <a:t>Voi</a:t>
            </a:r>
            <a:r>
              <a:rPr lang="de-DE" baseline="0" smtClean="0"/>
              <a:t> urma track-ul pe care Andrew Ng il urmeaza in cursul gratuit de ML de pe Coursera, cel putin pentru traditional ML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baseline="0" smtClean="0"/>
              <a:t>Cei care stiti deja lucrurile astea, nu are rost sa pierdeti timpul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baseline="0" smtClean="0"/>
              <a:t>Eu fac un rezumat a ce e acolo si poate mai adaug chestii din experienta personala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baseline="0" smtClean="0"/>
              <a:t>In continuare sustin ca cea mai buna varianta e sa urmati cursurile pe care vi le-am listat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14378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err="1" smtClean="0"/>
              <a:t>Ecuatia</a:t>
            </a:r>
            <a:r>
              <a:rPr lang="en-GB" baseline="0" smtClean="0"/>
              <a:t> </a:t>
            </a:r>
            <a:r>
              <a:rPr lang="en-GB" baseline="0" err="1" smtClean="0"/>
              <a:t>functiei</a:t>
            </a:r>
            <a:r>
              <a:rPr lang="en-GB" baseline="0" smtClean="0"/>
              <a:t> de </a:t>
            </a:r>
            <a:r>
              <a:rPr lang="en-GB" baseline="0" err="1" smtClean="0"/>
              <a:t>gradul</a:t>
            </a:r>
            <a:r>
              <a:rPr lang="en-GB" baseline="0" smtClean="0"/>
              <a:t> 1 (</a:t>
            </a:r>
            <a:r>
              <a:rPr lang="en-GB" baseline="0" err="1" smtClean="0"/>
              <a:t>ax</a:t>
            </a:r>
            <a:r>
              <a:rPr lang="en-GB" baseline="0" smtClean="0"/>
              <a:t> + 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Nu </a:t>
            </a:r>
            <a:r>
              <a:rPr lang="en-GB" baseline="0" err="1" smtClean="0"/>
              <a:t>vreau</a:t>
            </a:r>
            <a:r>
              <a:rPr lang="en-GB" baseline="0" smtClean="0"/>
              <a:t> </a:t>
            </a:r>
            <a:r>
              <a:rPr lang="en-GB" baseline="0" err="1" smtClean="0"/>
              <a:t>sa</a:t>
            </a:r>
            <a:r>
              <a:rPr lang="en-GB" baseline="0" smtClean="0"/>
              <a:t> </a:t>
            </a:r>
            <a:r>
              <a:rPr lang="en-GB" baseline="0" err="1" smtClean="0"/>
              <a:t>invatati</a:t>
            </a:r>
            <a:r>
              <a:rPr lang="en-GB" baseline="0" smtClean="0"/>
              <a:t> </a:t>
            </a:r>
            <a:r>
              <a:rPr lang="en-GB" baseline="0" err="1" smtClean="0"/>
              <a:t>pe</a:t>
            </a:r>
            <a:r>
              <a:rPr lang="en-GB" baseline="0" smtClean="0"/>
              <a:t> de </a:t>
            </a:r>
            <a:r>
              <a:rPr lang="en-GB" baseline="0" err="1" smtClean="0"/>
              <a:t>rost</a:t>
            </a:r>
            <a:r>
              <a:rPr lang="en-GB" baseline="0" smtClean="0"/>
              <a:t>, </a:t>
            </a:r>
            <a:r>
              <a:rPr lang="en-GB" baseline="0" err="1" smtClean="0"/>
              <a:t>vreau</a:t>
            </a:r>
            <a:r>
              <a:rPr lang="en-GB" baseline="0" smtClean="0"/>
              <a:t> </a:t>
            </a:r>
            <a:r>
              <a:rPr lang="en-GB" baseline="0" err="1" smtClean="0"/>
              <a:t>sa</a:t>
            </a:r>
            <a:r>
              <a:rPr lang="en-GB" baseline="0" smtClean="0"/>
              <a:t> </a:t>
            </a:r>
            <a:r>
              <a:rPr lang="en-GB" baseline="0" err="1" smtClean="0"/>
              <a:t>aiba</a:t>
            </a:r>
            <a:r>
              <a:rPr lang="en-GB" baseline="0" smtClean="0"/>
              <a:t> </a:t>
            </a:r>
            <a:r>
              <a:rPr lang="en-GB" baseline="0" err="1" smtClean="0"/>
              <a:t>sens</a:t>
            </a:r>
            <a:r>
              <a:rPr lang="en-GB" baseline="0" smtClean="0"/>
              <a:t> </a:t>
            </a:r>
            <a:r>
              <a:rPr lang="en-GB" baseline="0" err="1" smtClean="0"/>
              <a:t>pentru</a:t>
            </a:r>
            <a:r>
              <a:rPr lang="en-GB" baseline="0" smtClean="0"/>
              <a:t> </a:t>
            </a:r>
            <a:r>
              <a:rPr lang="en-GB" baseline="0" err="1" smtClean="0"/>
              <a:t>voi</a:t>
            </a:r>
            <a:r>
              <a:rPr lang="en-GB" baseline="0" smtClean="0"/>
              <a:t> de </a:t>
            </a:r>
            <a:r>
              <a:rPr lang="en-GB" baseline="0" err="1" smtClean="0"/>
              <a:t>ce</a:t>
            </a:r>
            <a:r>
              <a:rPr lang="en-GB" baseline="0" smtClean="0"/>
              <a:t> e </a:t>
            </a:r>
            <a:r>
              <a:rPr lang="en-GB" baseline="0" err="1" smtClean="0"/>
              <a:t>asa</a:t>
            </a:r>
            <a:r>
              <a:rPr lang="en-GB" baseline="0" smtClean="0"/>
              <a:t>, ca nu au </a:t>
            </a:r>
            <a:r>
              <a:rPr lang="en-GB" baseline="0" err="1" smtClean="0"/>
              <a:t>fost</a:t>
            </a:r>
            <a:r>
              <a:rPr lang="en-GB" baseline="0" smtClean="0"/>
              <a:t> </a:t>
            </a:r>
            <a:r>
              <a:rPr lang="en-GB" baseline="0" err="1" smtClean="0"/>
              <a:t>scoase</a:t>
            </a:r>
            <a:r>
              <a:rPr lang="en-GB" baseline="0" smtClean="0"/>
              <a:t> din </a:t>
            </a:r>
            <a:r>
              <a:rPr lang="en-GB" baseline="0" err="1" smtClean="0"/>
              <a:t>joben</a:t>
            </a:r>
            <a:r>
              <a:rPr lang="en-GB" baseline="0" smtClean="0"/>
              <a:t> </a:t>
            </a:r>
            <a:r>
              <a:rPr lang="en-GB" baseline="0" err="1" smtClean="0"/>
              <a:t>lucrurile</a:t>
            </a:r>
            <a:r>
              <a:rPr lang="en-GB" baseline="0" smtClean="0"/>
              <a:t> </a:t>
            </a:r>
            <a:r>
              <a:rPr lang="en-GB" baseline="0" err="1" smtClean="0"/>
              <a:t>astea</a:t>
            </a:r>
            <a:endParaRPr lang="en-GB" baseline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err="1" smtClean="0"/>
              <a:t>Parametrii</a:t>
            </a:r>
            <a:r>
              <a:rPr lang="en-GB" baseline="0" smtClean="0"/>
              <a:t> </a:t>
            </a:r>
            <a:r>
              <a:rPr lang="en-GB" baseline="0" err="1" smtClean="0"/>
              <a:t>sunt</a:t>
            </a:r>
            <a:r>
              <a:rPr lang="en-GB" baseline="0" smtClean="0"/>
              <a:t> </a:t>
            </a:r>
            <a:r>
              <a:rPr lang="en-GB" baseline="0" err="1" smtClean="0"/>
              <a:t>cei</a:t>
            </a:r>
            <a:r>
              <a:rPr lang="en-GB" baseline="0" smtClean="0"/>
              <a:t> care </a:t>
            </a:r>
            <a:r>
              <a:rPr lang="en-GB" baseline="0" err="1" smtClean="0"/>
              <a:t>trebuie</a:t>
            </a:r>
            <a:r>
              <a:rPr lang="en-GB" baseline="0" smtClean="0"/>
              <a:t> </a:t>
            </a:r>
            <a:r>
              <a:rPr lang="en-GB" baseline="0" err="1" smtClean="0"/>
              <a:t>ajustati</a:t>
            </a:r>
            <a:r>
              <a:rPr lang="en-GB" baseline="0" smtClean="0"/>
              <a:t> </a:t>
            </a:r>
            <a:r>
              <a:rPr lang="en-GB" baseline="0" err="1" smtClean="0"/>
              <a:t>prin</a:t>
            </a:r>
            <a:r>
              <a:rPr lang="en-GB" baseline="0" smtClean="0"/>
              <a:t> </a:t>
            </a:r>
            <a:r>
              <a:rPr lang="en-GB" baseline="0" err="1" smtClean="0"/>
              <a:t>invatare</a:t>
            </a:r>
            <a:endParaRPr lang="en-GB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6368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J </a:t>
            </a:r>
            <a:r>
              <a:rPr lang="en-GB" baseline="0" dirty="0" err="1" smtClean="0"/>
              <a:t>este</a:t>
            </a:r>
            <a:r>
              <a:rPr lang="en-GB" baseline="0" dirty="0" smtClean="0"/>
              <a:t> cost function, </a:t>
            </a:r>
            <a:r>
              <a:rPr lang="en-GB" baseline="0" dirty="0" err="1" smtClean="0"/>
              <a:t>scopu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s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o </a:t>
            </a:r>
            <a:r>
              <a:rPr lang="en-GB" baseline="0" dirty="0" err="1" smtClean="0"/>
              <a:t>minimizam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V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mintiti</a:t>
            </a:r>
            <a:r>
              <a:rPr lang="en-GB" baseline="0" dirty="0" smtClean="0"/>
              <a:t> ca m = </a:t>
            </a:r>
            <a:r>
              <a:rPr lang="en-GB" baseline="0" dirty="0" err="1" smtClean="0"/>
              <a:t>nr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exemple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De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1/2m: </a:t>
            </a:r>
            <a:r>
              <a:rPr lang="en-GB" baseline="0" dirty="0" err="1" smtClean="0"/>
              <a:t>doar</a:t>
            </a:r>
            <a:r>
              <a:rPr lang="en-GB" baseline="0" dirty="0" smtClean="0"/>
              <a:t> ca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implific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arte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tematica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functioneaz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fara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De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squared difference: ca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fie un </a:t>
            </a:r>
            <a:r>
              <a:rPr lang="en-GB" baseline="0" dirty="0" err="1" smtClean="0"/>
              <a:t>numa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ozitiv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ereu</a:t>
            </a:r>
            <a:r>
              <a:rPr lang="en-GB" baseline="0" dirty="0" smtClean="0"/>
              <a:t>, cu cat e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mic cu </a:t>
            </a:r>
            <a:r>
              <a:rPr lang="en-GB" baseline="0" dirty="0" err="1" smtClean="0"/>
              <a:t>atat</a:t>
            </a:r>
            <a:r>
              <a:rPr lang="en-GB" baseline="0" dirty="0" smtClean="0"/>
              <a:t> e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b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Fac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um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s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oa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iferentele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valoare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vrem</a:t>
            </a:r>
            <a:r>
              <a:rPr lang="en-GB" baseline="0" dirty="0" smtClean="0"/>
              <a:t> ca </a:t>
            </a:r>
            <a:r>
              <a:rPr lang="en-GB" baseline="0" dirty="0" err="1" smtClean="0"/>
              <a:t>sum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fie cat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mica, EXPLICA CU DESEN </a:t>
            </a:r>
            <a:r>
              <a:rPr lang="en-GB" baseline="0" dirty="0" err="1" smtClean="0"/>
              <a:t>intuitia</a:t>
            </a:r>
            <a:r>
              <a:rPr lang="en-GB" baseline="0" dirty="0" smtClean="0"/>
              <a:t> cu </a:t>
            </a:r>
            <a:r>
              <a:rPr lang="en-GB" baseline="0" dirty="0" err="1" smtClean="0"/>
              <a:t>fieca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aloare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nume</a:t>
            </a:r>
            <a:r>
              <a:rPr lang="en-GB" baseline="0" dirty="0" smtClean="0"/>
              <a:t> se </a:t>
            </a:r>
            <a:r>
              <a:rPr lang="en-GB" baseline="0" dirty="0" err="1" smtClean="0"/>
              <a:t>aduna</a:t>
            </a: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3881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Intr</a:t>
            </a:r>
            <a:r>
              <a:rPr lang="en-GB" baseline="0" dirty="0" smtClean="0"/>
              <a:t>-o </a:t>
            </a:r>
            <a:r>
              <a:rPr lang="en-GB" baseline="0" dirty="0" err="1" smtClean="0"/>
              <a:t>lum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deal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rata</a:t>
            </a:r>
            <a:r>
              <a:rPr lang="en-GB" baseline="0" dirty="0" smtClean="0"/>
              <a:t> spatial de </a:t>
            </a:r>
            <a:r>
              <a:rPr lang="en-GB" baseline="0" dirty="0" err="1" smtClean="0"/>
              <a:t>cauta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ntru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arametri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In </a:t>
            </a:r>
            <a:r>
              <a:rPr lang="en-GB" baseline="0" dirty="0" err="1" smtClean="0"/>
              <a:t>realitate</a:t>
            </a:r>
            <a:r>
              <a:rPr lang="en-GB" baseline="0" dirty="0" smtClean="0"/>
              <a:t> nu </a:t>
            </a:r>
            <a:r>
              <a:rPr lang="en-GB" baseline="0" dirty="0" err="1" smtClean="0"/>
              <a:t>v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ra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frumos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va</a:t>
            </a:r>
            <a:r>
              <a:rPr lang="en-GB" baseline="0" dirty="0" smtClean="0"/>
              <a:t> fi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neregulat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Iarasi</a:t>
            </a:r>
            <a:r>
              <a:rPr lang="en-GB" baseline="0" dirty="0" smtClean="0"/>
              <a:t>, in </a:t>
            </a:r>
            <a:r>
              <a:rPr lang="en-GB" baseline="0" dirty="0" err="1" smtClean="0"/>
              <a:t>realita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or</a:t>
            </a:r>
            <a:r>
              <a:rPr lang="en-GB" baseline="0" dirty="0" smtClean="0"/>
              <a:t> fi </a:t>
            </a:r>
            <a:r>
              <a:rPr lang="en-GB" baseline="0" dirty="0" err="1" smtClean="0"/>
              <a:t>mul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multi </a:t>
            </a:r>
            <a:r>
              <a:rPr lang="en-GB" baseline="0" dirty="0" err="1" smtClean="0"/>
              <a:t>parametri</a:t>
            </a:r>
            <a:r>
              <a:rPr lang="en-GB" baseline="0" dirty="0" smtClean="0"/>
              <a:t>, nu </a:t>
            </a:r>
            <a:r>
              <a:rPr lang="en-GB" baseline="0" dirty="0" err="1" smtClean="0"/>
              <a:t>doar</a:t>
            </a:r>
            <a:r>
              <a:rPr lang="en-GB" baseline="0" dirty="0" smtClean="0"/>
              <a:t> theta0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Iarasi</a:t>
            </a:r>
            <a:r>
              <a:rPr lang="en-GB" baseline="0" dirty="0" smtClean="0"/>
              <a:t>, in </a:t>
            </a:r>
            <a:r>
              <a:rPr lang="en-GB" baseline="0" dirty="0" err="1" smtClean="0"/>
              <a:t>realitate</a:t>
            </a:r>
            <a:r>
              <a:rPr lang="en-GB" baseline="0" dirty="0" smtClean="0"/>
              <a:t> nu </a:t>
            </a:r>
            <a:r>
              <a:rPr lang="en-GB" baseline="0" dirty="0" err="1" smtClean="0"/>
              <a:t>vo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ti</a:t>
            </a:r>
            <a:r>
              <a:rPr lang="en-GB" baseline="0" dirty="0" smtClean="0"/>
              <a:t> </a:t>
            </a:r>
            <a:r>
              <a:rPr lang="en-GB" baseline="0" dirty="0" smtClean="0"/>
              <a:t>cum </a:t>
            </a:r>
            <a:r>
              <a:rPr lang="en-GB" baseline="0" dirty="0" err="1" smtClean="0"/>
              <a:t>ara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ces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patiu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cautare</a:t>
            </a:r>
            <a:r>
              <a:rPr lang="en-GB" baseline="0" dirty="0" smtClean="0"/>
              <a:t>, ca o </a:t>
            </a:r>
            <a:r>
              <a:rPr lang="en-GB" baseline="0" dirty="0" err="1" smtClean="0"/>
              <a:t>har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intr</a:t>
            </a:r>
            <a:r>
              <a:rPr lang="en-GB" baseline="0" dirty="0" smtClean="0"/>
              <a:t>-un </a:t>
            </a:r>
            <a:r>
              <a:rPr lang="en-GB" baseline="0" dirty="0" err="1" smtClean="0"/>
              <a:t>joc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strategie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Vom</a:t>
            </a:r>
            <a:r>
              <a:rPr lang="en-GB" baseline="0" dirty="0" smtClean="0"/>
              <a:t> fi </a:t>
            </a:r>
            <a:r>
              <a:rPr lang="en-GB" baseline="0" dirty="0" err="1" smtClean="0"/>
              <a:t>pozitionat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ndeva</a:t>
            </a:r>
            <a:r>
              <a:rPr lang="en-GB" baseline="0" dirty="0" smtClean="0"/>
              <a:t> random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rebui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stim cum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justa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arametri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stf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ca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ergem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directi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otrivita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Vizual</a:t>
            </a:r>
            <a:r>
              <a:rPr lang="en-GB" baseline="0" dirty="0" smtClean="0"/>
              <a:t> pare </a:t>
            </a:r>
            <a:r>
              <a:rPr lang="en-GB" baseline="0" dirty="0" err="1" smtClean="0"/>
              <a:t>intuitiv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dar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realitate</a:t>
            </a:r>
            <a:r>
              <a:rPr lang="en-GB" baseline="0" dirty="0" smtClean="0"/>
              <a:t> nu e </a:t>
            </a:r>
            <a:r>
              <a:rPr lang="en-GB" baseline="0" dirty="0" err="1" smtClean="0"/>
              <a:t>a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sor</a:t>
            </a: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68327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Pleca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intr</a:t>
            </a:r>
            <a:r>
              <a:rPr lang="en-GB" baseline="0" dirty="0" smtClean="0"/>
              <a:t>-un </a:t>
            </a:r>
            <a:r>
              <a:rPr lang="en-GB" baseline="0" dirty="0" err="1" smtClean="0"/>
              <a:t>punct</a:t>
            </a:r>
            <a:r>
              <a:rPr lang="en-GB" baseline="0" dirty="0" smtClean="0"/>
              <a:t> random (</a:t>
            </a:r>
            <a:r>
              <a:rPr lang="en-GB" baseline="0" dirty="0" err="1" smtClean="0"/>
              <a:t>initializa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arametrii</a:t>
            </a:r>
            <a:r>
              <a:rPr lang="en-GB" baseline="0" dirty="0" smtClean="0"/>
              <a:t> cu o </a:t>
            </a:r>
            <a:r>
              <a:rPr lang="en-GB" baseline="0" dirty="0" err="1" smtClean="0"/>
              <a:t>anumi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aloare</a:t>
            </a:r>
            <a:r>
              <a:rPr lang="en-GB" baseline="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Ce ne </a:t>
            </a:r>
            <a:r>
              <a:rPr lang="en-GB" baseline="0" dirty="0" err="1" smtClean="0"/>
              <a:t>dori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s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oboram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odificat</a:t>
            </a:r>
            <a:r>
              <a:rPr lang="en-GB" baseline="0" dirty="0" smtClean="0"/>
              <a:t> theta01 </a:t>
            </a:r>
            <a:r>
              <a:rPr lang="en-GB" baseline="0" dirty="0" err="1" smtClean="0"/>
              <a:t>astf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ca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functia</a:t>
            </a:r>
            <a:r>
              <a:rPr lang="en-GB" baseline="0" dirty="0" smtClean="0"/>
              <a:t> de cost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fie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m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Alfa = learning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Mare </a:t>
            </a:r>
            <a:r>
              <a:rPr lang="en-GB" baseline="0" dirty="0" err="1" smtClean="0"/>
              <a:t>atentie</a:t>
            </a:r>
            <a:r>
              <a:rPr lang="en-GB" baseline="0" dirty="0" smtClean="0"/>
              <a:t> ca </a:t>
            </a:r>
            <a:r>
              <a:rPr lang="en-GB" baseline="0" dirty="0" err="1" smtClean="0"/>
              <a:t>exista</a:t>
            </a:r>
            <a:r>
              <a:rPr lang="en-GB" baseline="0" dirty="0" smtClean="0"/>
              <a:t> local optima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un </a:t>
            </a:r>
            <a:r>
              <a:rPr lang="en-GB" baseline="0" dirty="0" err="1" smtClean="0"/>
              <a:t>singur</a:t>
            </a:r>
            <a:r>
              <a:rPr lang="en-GB" baseline="0" dirty="0" smtClean="0"/>
              <a:t> global optima, e f </a:t>
            </a:r>
            <a:r>
              <a:rPr lang="en-GB" baseline="0" dirty="0" err="1" smtClean="0"/>
              <a:t>posibi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raman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locat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tr</a:t>
            </a:r>
            <a:r>
              <a:rPr lang="en-GB" baseline="0" dirty="0" smtClean="0"/>
              <a:t>-un local optim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51025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Simplifica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roblema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eliminam</a:t>
            </a:r>
            <a:r>
              <a:rPr lang="en-GB" baseline="0" dirty="0" smtClean="0"/>
              <a:t> theta0, plot-</a:t>
            </a:r>
            <a:r>
              <a:rPr lang="en-GB" baseline="0" dirty="0" err="1" smtClean="0"/>
              <a:t>ul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vrem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vin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idimensional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acum</a:t>
            </a:r>
            <a:r>
              <a:rPr lang="en-GB" baseline="0" dirty="0" smtClean="0"/>
              <a:t> ne </a:t>
            </a:r>
            <a:r>
              <a:rPr lang="en-GB" baseline="0" dirty="0" err="1" smtClean="0"/>
              <a:t>plimba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o </a:t>
            </a:r>
            <a:r>
              <a:rPr lang="en-GB" baseline="0" dirty="0" err="1" smtClean="0"/>
              <a:t>linie</a:t>
            </a:r>
            <a:r>
              <a:rPr lang="en-GB" baseline="0" dirty="0" smtClean="0"/>
              <a:t>, nu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un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Sa </a:t>
            </a:r>
            <a:r>
              <a:rPr lang="en-GB" baseline="0" dirty="0" err="1" smtClean="0"/>
              <a:t>zicem</a:t>
            </a:r>
            <a:r>
              <a:rPr lang="en-GB" baseline="0" dirty="0" smtClean="0"/>
              <a:t> ca </a:t>
            </a:r>
            <a:r>
              <a:rPr lang="en-GB" baseline="0" dirty="0" err="1" smtClean="0"/>
              <a:t>initializam</a:t>
            </a:r>
            <a:r>
              <a:rPr lang="en-GB" baseline="0" dirty="0" smtClean="0"/>
              <a:t> theta la </a:t>
            </a:r>
            <a:r>
              <a:rPr lang="en-GB" baseline="0" dirty="0" err="1" smtClean="0"/>
              <a:t>valoarea</a:t>
            </a:r>
            <a:r>
              <a:rPr lang="en-GB" baseline="0" dirty="0" smtClean="0"/>
              <a:t> 2 (</a:t>
            </a:r>
            <a:r>
              <a:rPr lang="en-GB" baseline="0" dirty="0" err="1" smtClean="0"/>
              <a:t>scopul</a:t>
            </a:r>
            <a:r>
              <a:rPr lang="en-GB" baseline="0" dirty="0" smtClean="0"/>
              <a:t> e ca in final </a:t>
            </a:r>
            <a:r>
              <a:rPr lang="en-GB" baseline="0" dirty="0" err="1" smtClean="0"/>
              <a:t>e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junga</a:t>
            </a:r>
            <a:r>
              <a:rPr lang="en-GB" baseline="0" dirty="0" smtClean="0"/>
              <a:t> la 1), </a:t>
            </a:r>
            <a:r>
              <a:rPr lang="en-GB" baseline="0" dirty="0" err="1" smtClean="0"/>
              <a:t>dar</a:t>
            </a:r>
            <a:r>
              <a:rPr lang="en-GB" baseline="0" dirty="0" smtClean="0"/>
              <a:t> nu </a:t>
            </a:r>
            <a:r>
              <a:rPr lang="en-GB" baseline="0" dirty="0" err="1" smtClean="0"/>
              <a:t>avem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und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stim </a:t>
            </a:r>
            <a:r>
              <a:rPr lang="en-GB" baseline="0" dirty="0" err="1" smtClean="0"/>
              <a:t>atunci</a:t>
            </a:r>
            <a:r>
              <a:rPr lang="en-GB" baseline="0" dirty="0" smtClean="0"/>
              <a:t> ca 1 e </a:t>
            </a:r>
            <a:r>
              <a:rPr lang="en-GB" baseline="0" dirty="0" err="1" smtClean="0"/>
              <a:t>valoarea</a:t>
            </a:r>
            <a:r>
              <a:rPr lang="en-GB" baseline="0" dirty="0" smtClean="0"/>
              <a:t> minima, </a:t>
            </a:r>
            <a:r>
              <a:rPr lang="en-GB" baseline="0" dirty="0" err="1" smtClean="0"/>
              <a:t>pentru</a:t>
            </a:r>
            <a:r>
              <a:rPr lang="en-GB" baseline="0" dirty="0" smtClean="0"/>
              <a:t> ca nu stim cum </a:t>
            </a:r>
            <a:r>
              <a:rPr lang="en-GB" baseline="0" dirty="0" err="1" smtClean="0"/>
              <a:t>ara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ces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grafic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Matematic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asta</a:t>
            </a:r>
            <a:r>
              <a:rPr lang="en-GB" baseline="0" dirty="0" smtClean="0"/>
              <a:t> nu </a:t>
            </a:r>
            <a:r>
              <a:rPr lang="en-GB" baseline="0" dirty="0" err="1" smtClean="0"/>
              <a:t>a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fi o </a:t>
            </a:r>
            <a:r>
              <a:rPr lang="en-GB" baseline="0" dirty="0" err="1" smtClean="0"/>
              <a:t>deriva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artial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rebui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notata</a:t>
            </a:r>
            <a:r>
              <a:rPr lang="en-GB" baseline="0" dirty="0" smtClean="0"/>
              <a:t> cu d normal, </a:t>
            </a:r>
            <a:r>
              <a:rPr lang="en-GB" baseline="0" dirty="0" err="1" smtClean="0"/>
              <a:t>da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gnora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ces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lucru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Derivata</a:t>
            </a:r>
            <a:r>
              <a:rPr lang="en-GB" baseline="0" dirty="0" smtClean="0"/>
              <a:t> e </a:t>
            </a:r>
            <a:r>
              <a:rPr lang="en-GB" baseline="0" dirty="0" err="1" smtClean="0"/>
              <a:t>pozitiv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ntru</a:t>
            </a:r>
            <a:r>
              <a:rPr lang="en-GB" baseline="0" dirty="0" smtClean="0"/>
              <a:t> o </a:t>
            </a:r>
            <a:r>
              <a:rPr lang="en-GB" baseline="0" dirty="0" err="1" smtClean="0"/>
              <a:t>tangenta</a:t>
            </a:r>
            <a:r>
              <a:rPr lang="en-GB" baseline="0" dirty="0" smtClean="0"/>
              <a:t> care </a:t>
            </a:r>
            <a:r>
              <a:rPr lang="en-GB" baseline="0" dirty="0" err="1" smtClean="0"/>
              <a:t>urca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dec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o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cadea</a:t>
            </a:r>
            <a:r>
              <a:rPr lang="en-GB" baseline="0" dirty="0" smtClean="0"/>
              <a:t> the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Cu cat </a:t>
            </a:r>
            <a:r>
              <a:rPr lang="en-GB" baseline="0" dirty="0" err="1" smtClean="0"/>
              <a:t>panta</a:t>
            </a:r>
            <a:r>
              <a:rPr lang="en-GB" baseline="0" dirty="0" smtClean="0"/>
              <a:t> e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mare, cu </a:t>
            </a:r>
            <a:r>
              <a:rPr lang="en-GB" baseline="0" dirty="0" err="1" smtClean="0"/>
              <a:t>ata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rivata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va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bsoluta</a:t>
            </a:r>
            <a:r>
              <a:rPr lang="en-GB" baseline="0" dirty="0" smtClean="0"/>
              <a:t> e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m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EXPLICA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se </a:t>
            </a:r>
            <a:r>
              <a:rPr lang="en-GB" baseline="0" dirty="0" err="1" smtClean="0"/>
              <a:t>intampla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functie</a:t>
            </a:r>
            <a:r>
              <a:rPr lang="en-GB" baseline="0" dirty="0" smtClean="0"/>
              <a:t> de cat e alph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Faptul</a:t>
            </a:r>
            <a:r>
              <a:rPr lang="en-GB" baseline="0" dirty="0" smtClean="0"/>
              <a:t> ca </a:t>
            </a:r>
            <a:r>
              <a:rPr lang="en-GB" baseline="0" dirty="0" err="1" smtClean="0"/>
              <a:t>folosi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rivata</a:t>
            </a:r>
            <a:r>
              <a:rPr lang="en-GB" baseline="0" dirty="0" smtClean="0"/>
              <a:t> </a:t>
            </a:r>
            <a:r>
              <a:rPr lang="en-GB" baseline="0" dirty="0" smtClean="0"/>
              <a:t>ne </a:t>
            </a:r>
            <a:r>
              <a:rPr lang="en-GB" baseline="0" dirty="0" err="1" smtClean="0"/>
              <a:t>aju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fac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asi</a:t>
            </a:r>
            <a:r>
              <a:rPr lang="en-GB" baseline="0" dirty="0" smtClean="0"/>
              <a:t> din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ici</a:t>
            </a:r>
            <a:r>
              <a:rPr lang="en-GB" baseline="0" dirty="0" smtClean="0"/>
              <a:t> cu cat ne </a:t>
            </a:r>
            <a:r>
              <a:rPr lang="en-GB" baseline="0" dirty="0" err="1" smtClean="0"/>
              <a:t>apropiem</a:t>
            </a:r>
            <a:r>
              <a:rPr lang="en-GB" baseline="0" dirty="0" smtClean="0"/>
              <a:t> de minim, nu e </a:t>
            </a:r>
            <a:r>
              <a:rPr lang="en-GB" baseline="0" dirty="0" err="1" smtClean="0"/>
              <a:t>nevoi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icsoram</a:t>
            </a:r>
            <a:r>
              <a:rPr lang="en-GB" baseline="0" dirty="0" smtClean="0"/>
              <a:t> alpha in </a:t>
            </a:r>
            <a:r>
              <a:rPr lang="en-GB" baseline="0" dirty="0" err="1" smtClean="0"/>
              <a:t>timp</a:t>
            </a: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76845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Intreab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rand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e </a:t>
            </a:r>
            <a:r>
              <a:rPr lang="en-GB" baseline="0" dirty="0" err="1" smtClean="0"/>
              <a:t>fieca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roag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inev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puna</a:t>
            </a:r>
            <a:r>
              <a:rPr lang="en-GB" baseline="0" dirty="0" smtClean="0"/>
              <a:t> cu </a:t>
            </a:r>
            <a:r>
              <a:rPr lang="en-GB" baseline="0" dirty="0" err="1" smtClean="0"/>
              <a:t>cuvintel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lui</a:t>
            </a:r>
            <a:r>
              <a:rPr lang="en-GB" baseline="0" dirty="0" smtClean="0"/>
              <a:t>/</a:t>
            </a:r>
            <a:r>
              <a:rPr lang="en-GB" baseline="0" dirty="0" err="1" smtClean="0"/>
              <a:t>e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se </a:t>
            </a:r>
            <a:r>
              <a:rPr lang="en-GB" baseline="0" dirty="0" err="1" smtClean="0"/>
              <a:t>intampla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Explicati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t</a:t>
            </a:r>
            <a:r>
              <a:rPr lang="en-GB" baseline="0" dirty="0" smtClean="0"/>
              <a:t> a </a:t>
            </a:r>
            <a:r>
              <a:rPr lang="en-GB" baseline="0" dirty="0" err="1" smtClean="0"/>
              <a:t>dou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hestie</a:t>
            </a:r>
            <a:r>
              <a:rPr lang="en-GB" baseline="0" dirty="0" smtClean="0"/>
              <a:t>: </a:t>
            </a:r>
            <a:r>
              <a:rPr lang="en-GB" baseline="0" dirty="0" err="1" smtClean="0"/>
              <a:t>dac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coat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riva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lui</a:t>
            </a:r>
            <a:r>
              <a:rPr lang="en-GB" baseline="0" dirty="0" smtClean="0"/>
              <a:t> J </a:t>
            </a:r>
            <a:r>
              <a:rPr lang="en-GB" baseline="0" dirty="0" err="1" smtClean="0"/>
              <a:t>pentru</a:t>
            </a:r>
            <a:r>
              <a:rPr lang="en-GB" baseline="0" dirty="0" smtClean="0"/>
              <a:t> theta 01 </a:t>
            </a:r>
            <a:r>
              <a:rPr lang="en-GB" baseline="0" dirty="0" err="1" smtClean="0"/>
              <a:t>obtin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e </a:t>
            </a:r>
            <a:r>
              <a:rPr lang="en-GB" baseline="0" dirty="0" err="1" smtClean="0"/>
              <a:t>acolo</a:t>
            </a:r>
            <a:r>
              <a:rPr lang="en-GB" baseline="0" dirty="0" smtClean="0"/>
              <a:t> – </a:t>
            </a:r>
            <a:r>
              <a:rPr lang="en-GB" baseline="0" dirty="0" err="1" smtClean="0"/>
              <a:t>vezi</a:t>
            </a:r>
            <a:r>
              <a:rPr lang="en-GB" baseline="0" dirty="0" smtClean="0"/>
              <a:t> slide anterior </a:t>
            </a:r>
            <a:r>
              <a:rPr lang="en-GB" baseline="0" dirty="0" smtClean="0"/>
              <a:t>(</a:t>
            </a:r>
            <a:r>
              <a:rPr lang="en-GB" baseline="0" dirty="0" err="1" smtClean="0"/>
              <a:t>aici</a:t>
            </a:r>
            <a:r>
              <a:rPr lang="en-GB" baseline="0" dirty="0" smtClean="0"/>
              <a:t> se </a:t>
            </a:r>
            <a:r>
              <a:rPr lang="en-GB" baseline="0" dirty="0" err="1" smtClean="0"/>
              <a:t>explica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s-a pus 1/2m </a:t>
            </a:r>
            <a:r>
              <a:rPr lang="en-GB" baseline="0" dirty="0" err="1" smtClean="0"/>
              <a:t>inainte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pt</a:t>
            </a:r>
            <a:r>
              <a:rPr lang="en-GB" baseline="0" dirty="0" smtClean="0"/>
              <a:t> ca </a:t>
            </a:r>
            <a:r>
              <a:rPr lang="en-GB" baseline="0" dirty="0" err="1" smtClean="0"/>
              <a:t>altfel</a:t>
            </a:r>
            <a:r>
              <a:rPr lang="en-GB" baseline="0" dirty="0" smtClean="0"/>
              <a:t> nu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ade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frumos</a:t>
            </a:r>
            <a:r>
              <a:rPr lang="en-GB" baseline="0" dirty="0" smtClean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9381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baseline="0" dirty="0" err="1" smtClean="0"/>
              <a:t>Functia</a:t>
            </a:r>
            <a:r>
              <a:rPr lang="en-GB" baseline="0" dirty="0" smtClean="0"/>
              <a:t> hypothesis </a:t>
            </a:r>
            <a:r>
              <a:rPr lang="en-GB" baseline="0" dirty="0" err="1" smtClean="0"/>
              <a:t>ramane</a:t>
            </a:r>
            <a:r>
              <a:rPr lang="en-GB" baseline="0" dirty="0" smtClean="0"/>
              <a:t> la </a:t>
            </a:r>
            <a:r>
              <a:rPr lang="en-GB" baseline="0" dirty="0" err="1" smtClean="0"/>
              <a:t>f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oar</a:t>
            </a:r>
            <a:r>
              <a:rPr lang="en-GB" baseline="0" dirty="0" smtClean="0"/>
              <a:t> ca are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multi parametric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baseline="0" dirty="0" err="1" smtClean="0"/>
              <a:t>Explica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theta transposed x (X e vertical de la x0...</a:t>
            </a:r>
            <a:r>
              <a:rPr lang="en-GB" baseline="0" dirty="0" err="1" smtClean="0"/>
              <a:t>xn</a:t>
            </a:r>
            <a:r>
              <a:rPr lang="en-GB" baseline="0" dirty="0" smtClean="0"/>
              <a:t>, theta la </a:t>
            </a:r>
            <a:r>
              <a:rPr lang="en-GB" baseline="0" dirty="0" err="1" smtClean="0"/>
              <a:t>fel</a:t>
            </a:r>
            <a:r>
              <a:rPr lang="en-GB" baseline="0" dirty="0" smtClean="0"/>
              <a:t>), </a:t>
            </a:r>
            <a:r>
              <a:rPr lang="en-GB" baseline="0" dirty="0" err="1" smtClean="0"/>
              <a:t>dac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fac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theta </a:t>
            </a:r>
            <a:r>
              <a:rPr lang="en-GB" baseline="0" dirty="0" err="1" smtClean="0"/>
              <a:t>orizonta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multim</a:t>
            </a:r>
            <a:r>
              <a:rPr lang="en-GB" baseline="0" dirty="0" smtClean="0"/>
              <a:t> cu X, </a:t>
            </a:r>
            <a:r>
              <a:rPr lang="en-GB" baseline="0" dirty="0" err="1" smtClean="0"/>
              <a:t>iese</a:t>
            </a:r>
            <a:r>
              <a:rPr lang="en-GB" baseline="0" dirty="0" smtClean="0"/>
              <a:t> fix 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2316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E doar o generalizare a ecuatiilor celor 2 de acum 2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77710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Feature scaling: daca valorile feature-urilor nu sunt pe aceeasi scara de marime, features mai mari vor influenta mai mult (gradient descent va fi mult mai l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Tuning the learning rate: plot-uim J in timp ce antrenam modelul si ne asteptam ca J sa scada la fiecare pas, daca nu e asa, atunci poate fi o problema cu alf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Polynomial features: linear regression e limitat la, well, liniaritate, dar putem sa incercam sa ocolim asta “fabricand” features polinomiale (NU AM INTALNIT IN PRACTICA, dar e bine de stiu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In practica, linear regression e folosit dar pentru probleme lini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01305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err="1" smtClean="0"/>
              <a:t>Pentru</a:t>
            </a:r>
            <a:r>
              <a:rPr lang="en-US" noProof="0" smtClean="0"/>
              <a:t> </a:t>
            </a:r>
            <a:r>
              <a:rPr lang="en-US" noProof="0" err="1" smtClean="0"/>
              <a:t>inscrieri</a:t>
            </a:r>
            <a:r>
              <a:rPr lang="en-US" noProof="0" smtClean="0"/>
              <a:t> la </a:t>
            </a:r>
            <a:r>
              <a:rPr lang="en-US" noProof="0" err="1" smtClean="0"/>
              <a:t>sesiuni</a:t>
            </a:r>
            <a:r>
              <a:rPr lang="en-US" noProof="0" smtClean="0"/>
              <a:t> </a:t>
            </a:r>
            <a:r>
              <a:rPr lang="en-US" noProof="0" err="1" smtClean="0"/>
              <a:t>viitoare</a:t>
            </a:r>
            <a:r>
              <a:rPr lang="en-US" baseline="0" noProof="0" smtClean="0"/>
              <a:t> </a:t>
            </a:r>
            <a:r>
              <a:rPr lang="en-US" baseline="0" noProof="0" err="1" smtClean="0"/>
              <a:t>contactati</a:t>
            </a:r>
            <a:r>
              <a:rPr lang="en-US" baseline="0" noProof="0" smtClean="0"/>
              <a:t>-ma </a:t>
            </a:r>
            <a:r>
              <a:rPr lang="en-US" baseline="0" noProof="0" err="1" smtClean="0"/>
              <a:t>pe</a:t>
            </a:r>
            <a:r>
              <a:rPr lang="en-US" baseline="0" noProof="0" smtClean="0"/>
              <a:t> mail (la </a:t>
            </a:r>
            <a:r>
              <a:rPr lang="en-US" baseline="0" noProof="0" err="1" smtClean="0"/>
              <a:t>fel</a:t>
            </a:r>
            <a:r>
              <a:rPr lang="en-US" baseline="0" noProof="0" smtClean="0"/>
              <a:t> </a:t>
            </a:r>
            <a:r>
              <a:rPr lang="en-US" baseline="0" noProof="0" err="1" smtClean="0"/>
              <a:t>va</a:t>
            </a:r>
            <a:r>
              <a:rPr lang="en-US" baseline="0" noProof="0" smtClean="0"/>
              <a:t> rog </a:t>
            </a:r>
            <a:r>
              <a:rPr lang="en-US" baseline="0" noProof="0" err="1" smtClean="0"/>
              <a:t>sa</a:t>
            </a:r>
            <a:r>
              <a:rPr lang="en-US" baseline="0" noProof="0" smtClean="0"/>
              <a:t> </a:t>
            </a:r>
            <a:r>
              <a:rPr lang="en-US" baseline="0" noProof="0" err="1" smtClean="0"/>
              <a:t>transmiteti</a:t>
            </a:r>
            <a:r>
              <a:rPr lang="en-US" baseline="0" noProof="0" smtClean="0"/>
              <a:t> </a:t>
            </a:r>
            <a:r>
              <a:rPr lang="en-US" baseline="0" noProof="0" err="1" smtClean="0"/>
              <a:t>si</a:t>
            </a:r>
            <a:r>
              <a:rPr lang="en-US" baseline="0" noProof="0" smtClean="0"/>
              <a:t> </a:t>
            </a:r>
            <a:r>
              <a:rPr lang="en-US" baseline="0" noProof="0" err="1" smtClean="0"/>
              <a:t>altora</a:t>
            </a:r>
            <a:r>
              <a:rPr lang="en-US" baseline="0" noProof="0" smtClean="0"/>
              <a:t>, </a:t>
            </a:r>
            <a:r>
              <a:rPr lang="en-US" baseline="0" noProof="0" err="1" smtClean="0"/>
              <a:t>daca</a:t>
            </a:r>
            <a:r>
              <a:rPr lang="en-US" baseline="0" noProof="0" smtClean="0"/>
              <a:t> </a:t>
            </a:r>
            <a:r>
              <a:rPr lang="en-US" baseline="0" noProof="0" err="1" smtClean="0"/>
              <a:t>va</a:t>
            </a:r>
            <a:r>
              <a:rPr lang="en-US" baseline="0" noProof="0" smtClean="0"/>
              <a:t> spun ca </a:t>
            </a:r>
            <a:r>
              <a:rPr lang="en-US" baseline="0" noProof="0" err="1" smtClean="0"/>
              <a:t>sunt</a:t>
            </a:r>
            <a:r>
              <a:rPr lang="en-US" baseline="0" noProof="0" smtClean="0"/>
              <a:t> </a:t>
            </a:r>
            <a:r>
              <a:rPr lang="en-US" baseline="0" noProof="0" err="1" smtClean="0"/>
              <a:t>interesati</a:t>
            </a:r>
            <a:r>
              <a:rPr lang="en-US" baseline="0" noProof="0" smtClean="0"/>
              <a:t>)</a:t>
            </a:r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171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9345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Regresie</a:t>
            </a:r>
            <a:r>
              <a:rPr lang="en-GB" baseline="0" dirty="0" smtClean="0"/>
              <a:t> vs </a:t>
            </a:r>
            <a:r>
              <a:rPr lang="en-GB" baseline="0" dirty="0" err="1" smtClean="0"/>
              <a:t>clasificare</a:t>
            </a:r>
            <a:r>
              <a:rPr lang="en-GB" baseline="0" dirty="0" smtClean="0"/>
              <a:t>: </a:t>
            </a:r>
            <a:r>
              <a:rPr lang="en-GB" baseline="0" dirty="0" err="1" smtClean="0"/>
              <a:t>sun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arecu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chivalente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Invata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upervizata</a:t>
            </a:r>
            <a:r>
              <a:rPr lang="en-GB" baseline="0" dirty="0" smtClean="0"/>
              <a:t>: </a:t>
            </a:r>
            <a:r>
              <a:rPr lang="en-GB" baseline="0" dirty="0" err="1" smtClean="0"/>
              <a:t>ce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omuna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supra </a:t>
            </a:r>
            <a:r>
              <a:rPr lang="en-GB" baseline="0" dirty="0" err="1" smtClean="0"/>
              <a:t>simplificare</a:t>
            </a:r>
            <a:r>
              <a:rPr lang="en-GB" baseline="0" dirty="0" smtClean="0"/>
              <a:t>, e </a:t>
            </a:r>
            <a:r>
              <a:rPr lang="en-GB" baseline="0" dirty="0" err="1" smtClean="0"/>
              <a:t>nevoie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multe</a:t>
            </a:r>
            <a:r>
              <a:rPr lang="en-GB" baseline="0" dirty="0" smtClean="0"/>
              <a:t> features </a:t>
            </a:r>
            <a:r>
              <a:rPr lang="en-GB" baseline="0" dirty="0" err="1" smtClean="0"/>
              <a:t>pentru</a:t>
            </a:r>
            <a:r>
              <a:rPr lang="en-GB" baseline="0" dirty="0" smtClean="0"/>
              <a:t> a </a:t>
            </a:r>
            <a:r>
              <a:rPr lang="en-GB" baseline="0" dirty="0" err="1" smtClean="0"/>
              <a:t>crea</a:t>
            </a:r>
            <a:r>
              <a:rPr lang="en-GB" baseline="0" dirty="0" smtClean="0"/>
              <a:t> un predictor b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De </a:t>
            </a:r>
            <a:r>
              <a:rPr lang="en-GB" baseline="0" dirty="0" err="1" smtClean="0"/>
              <a:t>aic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deea</a:t>
            </a:r>
            <a:r>
              <a:rPr lang="en-GB" baseline="0" dirty="0" smtClean="0"/>
              <a:t> de feature engineering (</a:t>
            </a:r>
            <a:r>
              <a:rPr lang="en-GB" baseline="0" dirty="0" err="1" smtClean="0"/>
              <a:t>alegerea</a:t>
            </a:r>
            <a:r>
              <a:rPr lang="en-GB" baseline="0" dirty="0" smtClean="0"/>
              <a:t> / </a:t>
            </a:r>
            <a:r>
              <a:rPr lang="en-GB" baseline="0" dirty="0" err="1" smtClean="0"/>
              <a:t>construirea</a:t>
            </a:r>
            <a:r>
              <a:rPr lang="en-GB" baseline="0" dirty="0" smtClean="0"/>
              <a:t> de features care </a:t>
            </a:r>
            <a:r>
              <a:rPr lang="en-GB" baseline="0" dirty="0" err="1" smtClean="0"/>
              <a:t>aju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odelu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ve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sor</a:t>
            </a:r>
            <a:r>
              <a:rPr lang="en-GB" baseline="0" dirty="0" smtClean="0"/>
              <a:t>)</a:t>
            </a: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342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err="1" smtClean="0"/>
              <a:t>Vrem</a:t>
            </a:r>
            <a:r>
              <a:rPr lang="en-GB" baseline="0" smtClean="0"/>
              <a:t> </a:t>
            </a:r>
            <a:r>
              <a:rPr lang="en-GB" baseline="0" err="1" smtClean="0"/>
              <a:t>sa</a:t>
            </a:r>
            <a:r>
              <a:rPr lang="en-GB" baseline="0" smtClean="0"/>
              <a:t> </a:t>
            </a:r>
            <a:r>
              <a:rPr lang="en-GB" baseline="0" err="1" smtClean="0"/>
              <a:t>prezicem</a:t>
            </a:r>
            <a:r>
              <a:rPr lang="en-GB" baseline="0" smtClean="0"/>
              <a:t> </a:t>
            </a:r>
            <a:r>
              <a:rPr lang="en-GB" baseline="0" err="1" smtClean="0"/>
              <a:t>pretul</a:t>
            </a:r>
            <a:r>
              <a:rPr lang="en-GB" baseline="0" smtClean="0"/>
              <a:t> </a:t>
            </a:r>
            <a:r>
              <a:rPr lang="en-GB" baseline="0" err="1" smtClean="0"/>
              <a:t>unei</a:t>
            </a:r>
            <a:r>
              <a:rPr lang="en-GB" baseline="0" smtClean="0"/>
              <a:t> case de 750 </a:t>
            </a:r>
            <a:r>
              <a:rPr lang="en-GB" baseline="0" err="1" smtClean="0"/>
              <a:t>metri</a:t>
            </a:r>
            <a:r>
              <a:rPr lang="en-GB" baseline="0" smtClean="0"/>
              <a:t> </a:t>
            </a:r>
            <a:r>
              <a:rPr lang="en-GB" baseline="0" err="1" smtClean="0"/>
              <a:t>patrati</a:t>
            </a:r>
            <a:endParaRPr lang="en-GB" baseline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Fit a straight line (ne </a:t>
            </a:r>
            <a:r>
              <a:rPr lang="en-GB" baseline="0" err="1" smtClean="0"/>
              <a:t>mulam</a:t>
            </a:r>
            <a:r>
              <a:rPr lang="en-GB" baseline="0" smtClean="0"/>
              <a:t> </a:t>
            </a:r>
            <a:r>
              <a:rPr lang="en-GB" baseline="0" err="1" smtClean="0"/>
              <a:t>pe</a:t>
            </a:r>
            <a:r>
              <a:rPr lang="en-GB" baseline="0" smtClean="0"/>
              <a:t> dat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41328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In </a:t>
            </a:r>
            <a:r>
              <a:rPr lang="en-GB" baseline="0" err="1" smtClean="0"/>
              <a:t>loc</a:t>
            </a:r>
            <a:r>
              <a:rPr lang="en-GB" baseline="0" smtClean="0"/>
              <a:t> de </a:t>
            </a:r>
            <a:r>
              <a:rPr lang="en-GB" baseline="0" err="1" smtClean="0"/>
              <a:t>linie</a:t>
            </a:r>
            <a:r>
              <a:rPr lang="en-GB" baseline="0" smtClean="0"/>
              <a:t> </a:t>
            </a:r>
            <a:r>
              <a:rPr lang="en-GB" baseline="0" err="1" smtClean="0"/>
              <a:t>dreapta</a:t>
            </a:r>
            <a:r>
              <a:rPr lang="en-GB" baseline="0" smtClean="0"/>
              <a:t> </a:t>
            </a:r>
            <a:r>
              <a:rPr lang="en-GB" baseline="0" err="1" smtClean="0"/>
              <a:t>putem</a:t>
            </a:r>
            <a:r>
              <a:rPr lang="en-GB" baseline="0" smtClean="0"/>
              <a:t> </a:t>
            </a:r>
            <a:r>
              <a:rPr lang="en-GB" baseline="0" err="1" smtClean="0"/>
              <a:t>incerca</a:t>
            </a:r>
            <a:r>
              <a:rPr lang="en-GB" baseline="0" smtClean="0"/>
              <a:t> o </a:t>
            </a:r>
            <a:r>
              <a:rPr lang="en-GB" baseline="0" err="1" smtClean="0"/>
              <a:t>functie</a:t>
            </a:r>
            <a:r>
              <a:rPr lang="en-GB" baseline="0" smtClean="0"/>
              <a:t> </a:t>
            </a:r>
            <a:r>
              <a:rPr lang="en-GB" baseline="0" err="1" smtClean="0"/>
              <a:t>patratica</a:t>
            </a:r>
            <a:r>
              <a:rPr lang="en-GB" baseline="0" smtClean="0"/>
              <a:t>, in </a:t>
            </a:r>
            <a:r>
              <a:rPr lang="en-GB" baseline="0" err="1" smtClean="0"/>
              <a:t>cazul</a:t>
            </a:r>
            <a:r>
              <a:rPr lang="en-GB" baseline="0" smtClean="0"/>
              <a:t> </a:t>
            </a:r>
            <a:r>
              <a:rPr lang="en-GB" baseline="0" err="1" smtClean="0"/>
              <a:t>asta</a:t>
            </a:r>
            <a:r>
              <a:rPr lang="en-GB" baseline="0" smtClean="0"/>
              <a:t> pare ca merge </a:t>
            </a:r>
            <a:r>
              <a:rPr lang="en-GB" baseline="0" err="1" smtClean="0"/>
              <a:t>mai</a:t>
            </a:r>
            <a:r>
              <a:rPr lang="en-GB" baseline="0" smtClean="0"/>
              <a:t> b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Nu e </a:t>
            </a:r>
            <a:r>
              <a:rPr lang="en-GB" baseline="0" err="1" smtClean="0"/>
              <a:t>intotdeauna</a:t>
            </a:r>
            <a:r>
              <a:rPr lang="en-GB" baseline="0" smtClean="0"/>
              <a:t> </a:t>
            </a:r>
            <a:r>
              <a:rPr lang="en-GB" baseline="0" err="1" smtClean="0"/>
              <a:t>mai</a:t>
            </a:r>
            <a:r>
              <a:rPr lang="en-GB" baseline="0" smtClean="0"/>
              <a:t> bine </a:t>
            </a:r>
            <a:r>
              <a:rPr lang="en-GB" baseline="0" err="1" smtClean="0"/>
              <a:t>sa</a:t>
            </a:r>
            <a:r>
              <a:rPr lang="en-GB" baseline="0" smtClean="0"/>
              <a:t> </a:t>
            </a:r>
            <a:r>
              <a:rPr lang="en-GB" baseline="0" err="1" smtClean="0"/>
              <a:t>ai</a:t>
            </a:r>
            <a:r>
              <a:rPr lang="en-GB" baseline="0" smtClean="0"/>
              <a:t> o </a:t>
            </a:r>
            <a:r>
              <a:rPr lang="en-GB" baseline="0" err="1" smtClean="0"/>
              <a:t>functie</a:t>
            </a:r>
            <a:r>
              <a:rPr lang="en-GB" baseline="0" smtClean="0"/>
              <a:t> </a:t>
            </a:r>
            <a:r>
              <a:rPr lang="en-GB" baseline="0" err="1" smtClean="0"/>
              <a:t>mai</a:t>
            </a:r>
            <a:r>
              <a:rPr lang="en-GB" baseline="0" smtClean="0"/>
              <a:t> </a:t>
            </a:r>
            <a:r>
              <a:rPr lang="en-GB" baseline="0" err="1" smtClean="0"/>
              <a:t>complexa</a:t>
            </a:r>
            <a:endParaRPr lang="en-GB" baseline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smtClean="0"/>
              <a:t>Supervised: </a:t>
            </a:r>
            <a:r>
              <a:rPr lang="en-GB" baseline="0" err="1" smtClean="0"/>
              <a:t>i</a:t>
            </a:r>
            <a:r>
              <a:rPr lang="en-GB" baseline="0" smtClean="0"/>
              <a:t>-am </a:t>
            </a:r>
            <a:r>
              <a:rPr lang="en-GB" baseline="0" err="1" smtClean="0"/>
              <a:t>dat</a:t>
            </a:r>
            <a:r>
              <a:rPr lang="en-GB" baseline="0" smtClean="0"/>
              <a:t> </a:t>
            </a:r>
            <a:r>
              <a:rPr lang="en-GB" baseline="0" err="1" smtClean="0"/>
              <a:t>exemple</a:t>
            </a:r>
            <a:r>
              <a:rPr lang="en-GB" baseline="0" smtClean="0"/>
              <a:t>, x-</a:t>
            </a:r>
            <a:r>
              <a:rPr lang="en-GB" baseline="0" err="1" smtClean="0"/>
              <a:t>urile</a:t>
            </a:r>
            <a:r>
              <a:rPr lang="en-GB" baseline="0" smtClean="0"/>
              <a:t> </a:t>
            </a:r>
            <a:r>
              <a:rPr lang="en-GB" baseline="0" err="1" smtClean="0"/>
              <a:t>sunt</a:t>
            </a:r>
            <a:r>
              <a:rPr lang="en-GB" baseline="0" smtClean="0"/>
              <a:t> </a:t>
            </a:r>
            <a:r>
              <a:rPr lang="en-GB" baseline="0" err="1" smtClean="0"/>
              <a:t>preturi</a:t>
            </a:r>
            <a:r>
              <a:rPr lang="en-GB" baseline="0" smtClean="0"/>
              <a:t> de case </a:t>
            </a:r>
            <a:r>
              <a:rPr lang="en-GB" baseline="0" err="1" smtClean="0"/>
              <a:t>pe</a:t>
            </a:r>
            <a:r>
              <a:rPr lang="en-GB" baseline="0" smtClean="0"/>
              <a:t> care le </a:t>
            </a:r>
            <a:r>
              <a:rPr lang="en-GB" baseline="0" err="1" smtClean="0"/>
              <a:t>cunoastem</a:t>
            </a:r>
            <a:r>
              <a:rPr lang="en-GB" baseline="0" smtClean="0"/>
              <a:t> </a:t>
            </a:r>
            <a:r>
              <a:rPr lang="en-GB" baseline="0" err="1" smtClean="0"/>
              <a:t>deja</a:t>
            </a:r>
            <a:r>
              <a:rPr lang="en-GB" baseline="0" smtClean="0"/>
              <a:t>, </a:t>
            </a:r>
            <a:r>
              <a:rPr lang="en-GB" baseline="0" err="1" smtClean="0"/>
              <a:t>vrem</a:t>
            </a:r>
            <a:r>
              <a:rPr lang="en-GB" baseline="0" smtClean="0"/>
              <a:t> ca </a:t>
            </a:r>
            <a:r>
              <a:rPr lang="en-GB" baseline="0" err="1" smtClean="0"/>
              <a:t>modelul</a:t>
            </a:r>
            <a:r>
              <a:rPr lang="en-GB" baseline="0" smtClean="0"/>
              <a:t> </a:t>
            </a:r>
            <a:r>
              <a:rPr lang="en-GB" baseline="0" err="1" smtClean="0"/>
              <a:t>sa</a:t>
            </a:r>
            <a:r>
              <a:rPr lang="en-GB" baseline="0" smtClean="0"/>
              <a:t> </a:t>
            </a:r>
            <a:r>
              <a:rPr lang="en-GB" baseline="0" err="1" smtClean="0"/>
              <a:t>prezica</a:t>
            </a:r>
            <a:r>
              <a:rPr lang="en-GB" baseline="0" smtClean="0"/>
              <a:t> </a:t>
            </a:r>
            <a:r>
              <a:rPr lang="en-GB" baseline="0" err="1" smtClean="0"/>
              <a:t>bazat</a:t>
            </a:r>
            <a:r>
              <a:rPr lang="en-GB" baseline="0" smtClean="0"/>
              <a:t> </a:t>
            </a:r>
            <a:r>
              <a:rPr lang="en-GB" baseline="0" err="1" smtClean="0"/>
              <a:t>pe</a:t>
            </a:r>
            <a:r>
              <a:rPr lang="en-GB" baseline="0" smtClean="0"/>
              <a:t> </a:t>
            </a:r>
            <a:r>
              <a:rPr lang="en-GB" baseline="0" err="1" smtClean="0"/>
              <a:t>asta</a:t>
            </a:r>
            <a:r>
              <a:rPr lang="en-GB" baseline="0" smtClean="0"/>
              <a:t> </a:t>
            </a:r>
            <a:r>
              <a:rPr lang="en-GB" baseline="0" err="1" smtClean="0"/>
              <a:t>preturile</a:t>
            </a:r>
            <a:r>
              <a:rPr lang="en-GB" baseline="0" smtClean="0"/>
              <a:t> </a:t>
            </a:r>
            <a:r>
              <a:rPr lang="en-GB" baseline="0" err="1" smtClean="0"/>
              <a:t>altor</a:t>
            </a:r>
            <a:r>
              <a:rPr lang="en-GB" baseline="0" smtClean="0"/>
              <a:t> c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err="1" smtClean="0"/>
              <a:t>Regresie</a:t>
            </a:r>
            <a:r>
              <a:rPr lang="en-GB" baseline="0" smtClean="0"/>
              <a:t>: output-</a:t>
            </a:r>
            <a:r>
              <a:rPr lang="en-GB" baseline="0" err="1" smtClean="0"/>
              <a:t>ul</a:t>
            </a:r>
            <a:r>
              <a:rPr lang="en-GB" baseline="0" smtClean="0"/>
              <a:t> </a:t>
            </a:r>
            <a:r>
              <a:rPr lang="en-GB" baseline="0" err="1" smtClean="0"/>
              <a:t>este</a:t>
            </a:r>
            <a:r>
              <a:rPr lang="en-GB" baseline="0" smtClean="0"/>
              <a:t> o </a:t>
            </a:r>
            <a:r>
              <a:rPr lang="en-GB" baseline="0" err="1" smtClean="0"/>
              <a:t>valoare</a:t>
            </a:r>
            <a:r>
              <a:rPr lang="en-GB" baseline="0" smtClean="0"/>
              <a:t> continu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41843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Clasificare</a:t>
            </a:r>
            <a:r>
              <a:rPr lang="en-GB" baseline="0" dirty="0" smtClean="0"/>
              <a:t>: </a:t>
            </a:r>
            <a:r>
              <a:rPr lang="en-GB" baseline="0" dirty="0" err="1" smtClean="0"/>
              <a:t>acu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vem</a:t>
            </a:r>
            <a:r>
              <a:rPr lang="en-GB" baseline="0" dirty="0" smtClean="0"/>
              <a:t> 2 features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output-</a:t>
            </a:r>
            <a:r>
              <a:rPr lang="en-GB" baseline="0" dirty="0" err="1" smtClean="0"/>
              <a:t>u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s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reprezentat</a:t>
            </a:r>
            <a:r>
              <a:rPr lang="en-GB" baseline="0" dirty="0" smtClean="0"/>
              <a:t> de o </a:t>
            </a:r>
            <a:r>
              <a:rPr lang="en-GB" baseline="0" dirty="0" err="1" smtClean="0"/>
              <a:t>sau</a:t>
            </a:r>
            <a:r>
              <a:rPr lang="en-GB" baseline="0" dirty="0" smtClean="0"/>
              <a:t> 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Din </a:t>
            </a:r>
            <a:r>
              <a:rPr lang="en-GB" baseline="0" dirty="0" err="1" smtClean="0"/>
              <a:t>nou</a:t>
            </a:r>
            <a:r>
              <a:rPr lang="en-GB" baseline="0" dirty="0" smtClean="0"/>
              <a:t>, in </a:t>
            </a:r>
            <a:r>
              <a:rPr lang="en-GB" baseline="0" dirty="0" err="1" smtClean="0"/>
              <a:t>realitate</a:t>
            </a:r>
            <a:r>
              <a:rPr lang="en-GB" baseline="0" dirty="0" smtClean="0"/>
              <a:t> se </a:t>
            </a:r>
            <a:r>
              <a:rPr lang="en-GB" baseline="0" dirty="0" err="1" smtClean="0"/>
              <a:t>folosesc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ute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daca</a:t>
            </a:r>
            <a:r>
              <a:rPr lang="en-GB" baseline="0" dirty="0" smtClean="0"/>
              <a:t> nu mii de features </a:t>
            </a:r>
            <a:r>
              <a:rPr lang="en-GB" baseline="0" dirty="0" err="1" smtClean="0"/>
              <a:t>pt</a:t>
            </a:r>
            <a:r>
              <a:rPr lang="en-GB" baseline="0" dirty="0" smtClean="0"/>
              <a:t> a </a:t>
            </a:r>
            <a:r>
              <a:rPr lang="en-GB" baseline="0" dirty="0" err="1" smtClean="0"/>
              <a:t>crea</a:t>
            </a:r>
            <a:r>
              <a:rPr lang="en-GB" baseline="0" dirty="0" smtClean="0"/>
              <a:t> un predictor dec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Cand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talnim</a:t>
            </a:r>
            <a:r>
              <a:rPr lang="en-GB" baseline="0" dirty="0" smtClean="0"/>
              <a:t> o </a:t>
            </a:r>
            <a:r>
              <a:rPr lang="en-GB" baseline="0" dirty="0" err="1" smtClean="0"/>
              <a:t>nou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umora</a:t>
            </a:r>
            <a:r>
              <a:rPr lang="en-GB" baseline="0" dirty="0" smtClean="0"/>
              <a:t>, </a:t>
            </a:r>
            <a:r>
              <a:rPr lang="en-GB" baseline="0" dirty="0" smtClean="0"/>
              <a:t>in </a:t>
            </a:r>
            <a:r>
              <a:rPr lang="en-GB" baseline="0" dirty="0" err="1" smtClean="0"/>
              <a:t>functie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parte a </a:t>
            </a:r>
            <a:r>
              <a:rPr lang="en-GB" baseline="0" dirty="0" err="1" smtClean="0"/>
              <a:t>liniei</a:t>
            </a:r>
            <a:r>
              <a:rPr lang="en-GB" baseline="0" dirty="0" smtClean="0"/>
              <a:t> pica, </a:t>
            </a:r>
            <a:r>
              <a:rPr lang="en-GB" baseline="0" dirty="0" err="1" smtClean="0"/>
              <a:t>put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punem</a:t>
            </a:r>
            <a:r>
              <a:rPr lang="en-GB" baseline="0" dirty="0" smtClean="0"/>
              <a:t> cu un </a:t>
            </a:r>
            <a:r>
              <a:rPr lang="en-GB" baseline="0" dirty="0" err="1" smtClean="0"/>
              <a:t>oarecare</a:t>
            </a:r>
            <a:r>
              <a:rPr lang="en-GB" baseline="0" dirty="0" smtClean="0"/>
              <a:t> confidence </a:t>
            </a:r>
            <a:r>
              <a:rPr lang="en-GB" baseline="0" dirty="0" err="1" smtClean="0"/>
              <a:t>daca</a:t>
            </a:r>
            <a:r>
              <a:rPr lang="en-GB" baseline="0" dirty="0" smtClean="0"/>
              <a:t> e </a:t>
            </a:r>
            <a:r>
              <a:rPr lang="en-GB" baseline="0" dirty="0" err="1" smtClean="0"/>
              <a:t>malign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u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enigna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3931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Alt clustering: </a:t>
            </a:r>
            <a:r>
              <a:rPr lang="en-GB" baseline="0" dirty="0" err="1" smtClean="0"/>
              <a:t>grupa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ipologi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rsoane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functie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modul</a:t>
            </a:r>
            <a:r>
              <a:rPr lang="en-GB" baseline="0" dirty="0" smtClean="0"/>
              <a:t> in care </a:t>
            </a:r>
            <a:r>
              <a:rPr lang="en-GB" baseline="0" dirty="0" err="1" smtClean="0"/>
              <a:t>sun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xprima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genele</a:t>
            </a:r>
            <a:r>
              <a:rPr lang="en-GB" baseline="0" dirty="0" smtClean="0"/>
              <a:t> in AD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Computer clusters: </a:t>
            </a:r>
            <a:r>
              <a:rPr lang="en-GB" baseline="0" dirty="0" err="1" smtClean="0"/>
              <a:t>gruparea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masini</a:t>
            </a:r>
            <a:r>
              <a:rPr lang="en-GB" baseline="0" dirty="0" smtClean="0"/>
              <a:t> care </a:t>
            </a:r>
            <a:r>
              <a:rPr lang="en-GB" baseline="0" dirty="0" err="1" smtClean="0"/>
              <a:t>functioneaz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ficien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mpreuna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Social network analysis: close friends, </a:t>
            </a:r>
            <a:r>
              <a:rPr lang="en-GB" baseline="0" dirty="0" err="1" smtClean="0"/>
              <a:t>grupur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propiate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persoane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Market segmentation: </a:t>
            </a:r>
            <a:r>
              <a:rPr lang="en-GB" baseline="0" dirty="0" err="1" smtClean="0"/>
              <a:t>grupa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lient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ategorii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Difera</a:t>
            </a:r>
            <a:r>
              <a:rPr lang="en-GB" baseline="0" dirty="0" smtClean="0"/>
              <a:t> de machine learning </a:t>
            </a:r>
            <a:r>
              <a:rPr lang="en-GB" baseline="0" dirty="0" err="1" smtClean="0"/>
              <a:t>supervizat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uni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erg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tat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depar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ca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zica</a:t>
            </a:r>
            <a:r>
              <a:rPr lang="en-GB" baseline="0" dirty="0" smtClean="0"/>
              <a:t> ca </a:t>
            </a:r>
            <a:r>
              <a:rPr lang="en-GB" baseline="0" dirty="0" err="1" smtClean="0"/>
              <a:t>nic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car</a:t>
            </a:r>
            <a:r>
              <a:rPr lang="en-GB" baseline="0" dirty="0" smtClean="0"/>
              <a:t> nu e </a:t>
            </a:r>
            <a:r>
              <a:rPr lang="en-GB" baseline="0" dirty="0" err="1" smtClean="0"/>
              <a:t>vorba</a:t>
            </a:r>
            <a:r>
              <a:rPr lang="en-GB" baseline="0" dirty="0" smtClean="0"/>
              <a:t> de ML in unsupervised, </a:t>
            </a:r>
            <a:r>
              <a:rPr lang="en-GB" baseline="0" dirty="0" err="1" smtClean="0"/>
              <a:t>da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xis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ehnic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oderne</a:t>
            </a:r>
            <a:r>
              <a:rPr lang="en-GB" baseline="0" dirty="0" smtClean="0"/>
              <a:t> care </a:t>
            </a:r>
            <a:r>
              <a:rPr lang="en-GB" baseline="0" dirty="0" err="1" smtClean="0"/>
              <a:t>folosesc</a:t>
            </a:r>
            <a:r>
              <a:rPr lang="en-GB" baseline="0" dirty="0" smtClean="0"/>
              <a:t> </a:t>
            </a:r>
            <a:r>
              <a:rPr lang="en-GB" baseline="0" dirty="0" err="1" smtClean="0"/>
              <a:t>retel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neural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ntru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vata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nesupervizata</a:t>
            </a:r>
            <a:r>
              <a:rPr lang="en-GB" baseline="0" dirty="0" smtClean="0"/>
              <a:t> (e.g. anomaly detection)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02860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baseline="0" smtClean="0"/>
              <a:t>Am </a:t>
            </a:r>
            <a:r>
              <a:rPr lang="en-GB" baseline="0" err="1" smtClean="0"/>
              <a:t>revenit</a:t>
            </a:r>
            <a:r>
              <a:rPr lang="en-GB" baseline="0" smtClean="0"/>
              <a:t> la supervis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59673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Hypothesis = </a:t>
            </a:r>
            <a:r>
              <a:rPr lang="en-GB" baseline="0" dirty="0" err="1" smtClean="0"/>
              <a:t>functi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care o </a:t>
            </a:r>
            <a:r>
              <a:rPr lang="en-GB" baseline="0" dirty="0" err="1" smtClean="0"/>
              <a:t>invatam</a:t>
            </a:r>
            <a:r>
              <a:rPr lang="en-GB" baseline="0" dirty="0" smtClean="0"/>
              <a:t> care </a:t>
            </a:r>
            <a:r>
              <a:rPr lang="en-GB" baseline="0" dirty="0" err="1" smtClean="0"/>
              <a:t>mapeaza</a:t>
            </a:r>
            <a:r>
              <a:rPr lang="en-GB" baseline="0" dirty="0" smtClean="0"/>
              <a:t> de la input la </a:t>
            </a:r>
            <a:r>
              <a:rPr lang="en-GB" baseline="0" dirty="0" err="1" smtClean="0"/>
              <a:t>predictie</a:t>
            </a: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2580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618416"/>
              </p:ext>
            </p:extLst>
          </p:nvPr>
        </p:nvGraphicFramePr>
        <p:xfrm>
          <a:off x="1590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9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0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25"/>
          <p:cNvSpPr txBox="1"/>
          <p:nvPr userDrawn="1"/>
        </p:nvSpPr>
        <p:spPr bwMode="ltGray">
          <a:xfrm>
            <a:off x="261939" y="204833"/>
            <a:ext cx="1215076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912704">
              <a:defRPr/>
            </a:pPr>
            <a:r>
              <a:rPr lang="en-GB" sz="1400" smtClean="0">
                <a:solidFill>
                  <a:schemeClr val="bg1"/>
                </a:solidFill>
                <a:latin typeface="Arial" pitchFamily="-109" charset="0"/>
                <a:ea typeface="Arial" pitchFamily="-109" charset="0"/>
                <a:cs typeface="Arial" pitchFamily="-109" charset="0"/>
              </a:rPr>
              <a:t>Deutsche Bank</a:t>
            </a:r>
            <a:endParaRPr lang="en-GB" sz="1400">
              <a:solidFill>
                <a:schemeClr val="bg1"/>
              </a:solidFill>
              <a:latin typeface="Arial" pitchFamily="-109" charset="0"/>
              <a:ea typeface="Arial" pitchFamily="-109" charset="0"/>
              <a:cs typeface="Arial" pitchFamily="-109" charset="0"/>
            </a:endParaRPr>
          </a:p>
        </p:txBody>
      </p:sp>
      <p:pic>
        <p:nvPicPr>
          <p:cNvPr id="1059915" name="Picture 1099" descr="Image result for artificial intelligence"/>
          <p:cNvPicPr>
            <a:picLocks noChangeAspect="1" noChangeArrowheads="1" noCrop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4493"/>
            <a:ext cx="12293600" cy="691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Freeform 4"/>
          <p:cNvSpPr>
            <a:spLocks noEditPoints="1"/>
          </p:cNvSpPr>
          <p:nvPr userDrawn="1"/>
        </p:nvSpPr>
        <p:spPr bwMode="gray">
          <a:xfrm>
            <a:off x="8932714" y="269917"/>
            <a:ext cx="503238" cy="503237"/>
          </a:xfrm>
          <a:custGeom>
            <a:avLst/>
            <a:gdLst/>
            <a:ahLst/>
            <a:cxnLst>
              <a:cxn ang="0">
                <a:pos x="2286" y="2285"/>
              </a:cxn>
              <a:cxn ang="0">
                <a:pos x="2286" y="14035"/>
              </a:cxn>
              <a:cxn ang="0">
                <a:pos x="14035" y="14035"/>
              </a:cxn>
              <a:cxn ang="0">
                <a:pos x="14035" y="2285"/>
              </a:cxn>
              <a:cxn ang="0">
                <a:pos x="2286" y="2285"/>
              </a:cxn>
              <a:cxn ang="0">
                <a:pos x="3590" y="12404"/>
              </a:cxn>
              <a:cxn ang="0">
                <a:pos x="6527" y="12404"/>
              </a:cxn>
              <a:cxn ang="0">
                <a:pos x="12730" y="3917"/>
              </a:cxn>
              <a:cxn ang="0">
                <a:pos x="9792" y="3917"/>
              </a:cxn>
              <a:cxn ang="0">
                <a:pos x="3590" y="12404"/>
              </a:cxn>
              <a:cxn ang="0">
                <a:pos x="0" y="0"/>
              </a:cxn>
              <a:cxn ang="0">
                <a:pos x="16320" y="0"/>
              </a:cxn>
              <a:cxn ang="0">
                <a:pos x="16320" y="16320"/>
              </a:cxn>
              <a:cxn ang="0">
                <a:pos x="0" y="16320"/>
              </a:cxn>
              <a:cxn ang="0">
                <a:pos x="0" y="0"/>
              </a:cxn>
            </a:cxnLst>
            <a:rect l="0" t="0" r="r" b="b"/>
            <a:pathLst>
              <a:path w="16320" h="16320">
                <a:moveTo>
                  <a:pt x="2286" y="2285"/>
                </a:moveTo>
                <a:lnTo>
                  <a:pt x="2286" y="14035"/>
                </a:lnTo>
                <a:lnTo>
                  <a:pt x="14035" y="14035"/>
                </a:lnTo>
                <a:lnTo>
                  <a:pt x="14035" y="2285"/>
                </a:lnTo>
                <a:lnTo>
                  <a:pt x="2286" y="2285"/>
                </a:lnTo>
                <a:close/>
                <a:moveTo>
                  <a:pt x="3590" y="12404"/>
                </a:moveTo>
                <a:lnTo>
                  <a:pt x="6527" y="12404"/>
                </a:lnTo>
                <a:lnTo>
                  <a:pt x="12730" y="3917"/>
                </a:lnTo>
                <a:lnTo>
                  <a:pt x="9792" y="3917"/>
                </a:lnTo>
                <a:lnTo>
                  <a:pt x="3590" y="12404"/>
                </a:lnTo>
                <a:close/>
                <a:moveTo>
                  <a:pt x="0" y="0"/>
                </a:moveTo>
                <a:lnTo>
                  <a:pt x="16320" y="0"/>
                </a:lnTo>
                <a:lnTo>
                  <a:pt x="16320" y="16320"/>
                </a:lnTo>
                <a:lnTo>
                  <a:pt x="0" y="1632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82836" tIns="41417" rIns="82836" bIns="41417"/>
          <a:lstStyle/>
          <a:p>
            <a:pPr defTabSz="912704">
              <a:defRPr/>
            </a:pPr>
            <a:endParaRPr lang="en-GB">
              <a:latin typeface="Arial" pitchFamily="-109" charset="0"/>
              <a:ea typeface="Arial" pitchFamily="-109" charset="0"/>
              <a:cs typeface="Arial" pitchFamily="-109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gray">
          <a:xfrm>
            <a:off x="3568701" y="3240485"/>
            <a:ext cx="5870575" cy="516697"/>
            <a:chOff x="1663" y="3099"/>
            <a:chExt cx="3109" cy="31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500" baseline="0" noProof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500" baseline="0" noProof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633413" y="1242949"/>
            <a:ext cx="5870575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0" baseline="0">
                <a:solidFill>
                  <a:schemeClr val="bg1"/>
                </a:solidFill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633412" y="2341752"/>
            <a:ext cx="5870575" cy="230832"/>
          </a:xfrm>
        </p:spPr>
        <p:txBody>
          <a:bodyPr wrap="square">
            <a:spAutoFit/>
          </a:bodyPr>
          <a:lstStyle>
            <a:lvl1pPr>
              <a:defRPr sz="1500" baseline="0">
                <a:solidFill>
                  <a:schemeClr val="bg1"/>
                </a:solidFill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488877"/>
              </p:ext>
            </p:extLst>
          </p:nvPr>
        </p:nvGraphicFramePr>
        <p:xfrm>
          <a:off x="1590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9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9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52584" y="274321"/>
            <a:ext cx="848124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246221"/>
          </a:xfrm>
        </p:spPr>
        <p:txBody>
          <a:bodyPr/>
          <a:lstStyle>
            <a:lvl1pPr>
              <a:defRPr>
                <a:latin typeface="Deutsche Bank Text" panose="020B0503020202030204" pitchFamily="34" charset="0"/>
                <a:ea typeface="Deutsche Bank Text" panose="020B0503020202030204" pitchFamily="34" charset="0"/>
                <a:cs typeface="Deutsche Bank Text" panose="020B0503020202030204" pitchFamily="34" charset="0"/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95248959"/>
              </p:ext>
            </p:extLst>
          </p:nvPr>
        </p:nvGraphicFramePr>
        <p:xfrm>
          <a:off x="0" y="1"/>
          <a:ext cx="17548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3575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331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75482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38358" y="2895456"/>
            <a:ext cx="475558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52584" y="274321"/>
            <a:ext cx="834460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452583" y="1781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baseline="0" noProof="0" smtClean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  <a:endParaRPr lang="en-GB" sz="1400" baseline="0" noProof="0">
              <a:solidFill>
                <a:srgbClr val="808080"/>
              </a:solidFill>
              <a:latin typeface="+mn-lt"/>
              <a:ea typeface="+mj-ea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449410" y="669323"/>
            <a:ext cx="848124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baseline="0" noProof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538357" y="2312187"/>
            <a:ext cx="4713466" cy="526417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baseline="0" noProof="0" smtClean="0">
                  <a:latin typeface="+mn-lt"/>
                  <a:ea typeface="+mn-ea"/>
                </a:rPr>
                <a:t>Title</a:t>
              </a:r>
            </a:p>
            <a:p>
              <a:r>
                <a:rPr lang="en-GB" sz="1600" baseline="0" noProof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GB" sz="1600" baseline="0" noProof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63" name="Freeform 4"/>
          <p:cNvSpPr>
            <a:spLocks noEditPoints="1"/>
          </p:cNvSpPr>
          <p:nvPr/>
        </p:nvSpPr>
        <p:spPr bwMode="gray">
          <a:xfrm>
            <a:off x="8932714" y="269917"/>
            <a:ext cx="468462" cy="468312"/>
          </a:xfrm>
          <a:custGeom>
            <a:avLst/>
            <a:gdLst/>
            <a:ahLst/>
            <a:cxnLst>
              <a:cxn ang="0">
                <a:pos x="2286" y="2285"/>
              </a:cxn>
              <a:cxn ang="0">
                <a:pos x="2286" y="14035"/>
              </a:cxn>
              <a:cxn ang="0">
                <a:pos x="14035" y="14035"/>
              </a:cxn>
              <a:cxn ang="0">
                <a:pos x="14035" y="2285"/>
              </a:cxn>
              <a:cxn ang="0">
                <a:pos x="2286" y="2285"/>
              </a:cxn>
              <a:cxn ang="0">
                <a:pos x="3590" y="12404"/>
              </a:cxn>
              <a:cxn ang="0">
                <a:pos x="6527" y="12404"/>
              </a:cxn>
              <a:cxn ang="0">
                <a:pos x="12730" y="3917"/>
              </a:cxn>
              <a:cxn ang="0">
                <a:pos x="9792" y="3917"/>
              </a:cxn>
              <a:cxn ang="0">
                <a:pos x="3590" y="12404"/>
              </a:cxn>
              <a:cxn ang="0">
                <a:pos x="0" y="0"/>
              </a:cxn>
              <a:cxn ang="0">
                <a:pos x="16320" y="0"/>
              </a:cxn>
              <a:cxn ang="0">
                <a:pos x="16320" y="16320"/>
              </a:cxn>
              <a:cxn ang="0">
                <a:pos x="0" y="16320"/>
              </a:cxn>
              <a:cxn ang="0">
                <a:pos x="0" y="0"/>
              </a:cxn>
            </a:cxnLst>
            <a:rect l="0" t="0" r="r" b="b"/>
            <a:pathLst>
              <a:path w="16320" h="16320">
                <a:moveTo>
                  <a:pt x="2286" y="2285"/>
                </a:moveTo>
                <a:lnTo>
                  <a:pt x="2286" y="14035"/>
                </a:lnTo>
                <a:lnTo>
                  <a:pt x="14035" y="14035"/>
                </a:lnTo>
                <a:lnTo>
                  <a:pt x="14035" y="2285"/>
                </a:lnTo>
                <a:lnTo>
                  <a:pt x="2286" y="2285"/>
                </a:lnTo>
                <a:close/>
                <a:moveTo>
                  <a:pt x="3590" y="12404"/>
                </a:moveTo>
                <a:lnTo>
                  <a:pt x="6527" y="12404"/>
                </a:lnTo>
                <a:lnTo>
                  <a:pt x="12730" y="3917"/>
                </a:lnTo>
                <a:lnTo>
                  <a:pt x="9792" y="3917"/>
                </a:lnTo>
                <a:lnTo>
                  <a:pt x="3590" y="12404"/>
                </a:lnTo>
                <a:close/>
                <a:moveTo>
                  <a:pt x="0" y="0"/>
                </a:moveTo>
                <a:lnTo>
                  <a:pt x="16320" y="0"/>
                </a:lnTo>
                <a:lnTo>
                  <a:pt x="16320" y="16320"/>
                </a:lnTo>
                <a:lnTo>
                  <a:pt x="0" y="16320"/>
                </a:lnTo>
                <a:lnTo>
                  <a:pt x="0" y="0"/>
                </a:lnTo>
                <a:close/>
              </a:path>
            </a:pathLst>
          </a:custGeom>
          <a:solidFill>
            <a:srgbClr val="0018A8"/>
          </a:solidFill>
          <a:ln w="9525">
            <a:noFill/>
            <a:round/>
            <a:headEnd/>
            <a:tailEnd/>
          </a:ln>
        </p:spPr>
        <p:txBody>
          <a:bodyPr lIns="86794" tIns="43396" rIns="86794" bIns="43396"/>
          <a:lstStyle/>
          <a:p>
            <a:pPr defTabSz="956836">
              <a:defRPr/>
            </a:pPr>
            <a:endParaRPr lang="en-GB">
              <a:ea typeface="+mn-ea"/>
              <a:cs typeface="Arial" charset="0"/>
            </a:endParaRPr>
          </a:p>
        </p:txBody>
      </p:sp>
      <p:cxnSp>
        <p:nvCxnSpPr>
          <p:cNvPr id="66" name="Straight Connector 9"/>
          <p:cNvCxnSpPr>
            <a:cxnSpLocks noChangeShapeType="1"/>
          </p:cNvCxnSpPr>
          <p:nvPr/>
        </p:nvCxnSpPr>
        <p:spPr bwMode="gray">
          <a:xfrm rot="10800000">
            <a:off x="504827" y="6399329"/>
            <a:ext cx="8896350" cy="0"/>
          </a:xfrm>
          <a:prstGeom prst="line">
            <a:avLst/>
          </a:prstGeom>
          <a:noFill/>
          <a:ln w="6350">
            <a:solidFill>
              <a:srgbClr val="8296AA"/>
            </a:solidFill>
            <a:round/>
            <a:headEnd/>
            <a:tailEnd/>
          </a:ln>
        </p:spPr>
      </p:cxnSp>
      <p:sp>
        <p:nvSpPr>
          <p:cNvPr id="71" name="TextBox 70"/>
          <p:cNvSpPr txBox="1"/>
          <p:nvPr/>
        </p:nvSpPr>
        <p:spPr bwMode="gray">
          <a:xfrm>
            <a:off x="504825" y="6559594"/>
            <a:ext cx="1001877" cy="123111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marL="0" marR="0" lvl="0" indent="0" defTabSz="9124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92D0"/>
                </a:solidFill>
                <a:effectLst/>
                <a:uLnTx/>
                <a:uFillTx/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BEX.AI Course - Intro</a:t>
            </a:r>
          </a:p>
        </p:txBody>
      </p:sp>
      <p:sp>
        <p:nvSpPr>
          <p:cNvPr id="72" name="TextBox 71"/>
          <p:cNvSpPr txBox="1"/>
          <p:nvPr/>
        </p:nvSpPr>
        <p:spPr bwMode="gray">
          <a:xfrm>
            <a:off x="504826" y="6438437"/>
            <a:ext cx="713337" cy="12311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defTabSz="9124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0018A8"/>
                </a:solidFill>
                <a:effectLst/>
                <a:uLnTx/>
                <a:uFillTx/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Deutsche Bank</a:t>
            </a: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0018A8"/>
              </a:solidFill>
              <a:effectLst/>
              <a:uLnTx/>
              <a:uFillTx/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74" name="fc"/>
          <p:cNvSpPr txBox="1"/>
          <p:nvPr/>
        </p:nvSpPr>
        <p:spPr bwMode="gray">
          <a:xfrm>
            <a:off x="1" y="6611619"/>
            <a:ext cx="65" cy="18466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12704" eaLnBrk="0" hangingPunct="0">
              <a:defRPr/>
            </a:pPr>
            <a:endParaRPr lang="en-GB" sz="1200">
              <a:latin typeface="+mn-lt"/>
            </a:endParaRPr>
          </a:p>
        </p:txBody>
      </p:sp>
      <p:grpSp>
        <p:nvGrpSpPr>
          <p:cNvPr id="75" name="LegendBoxes" hidden="1"/>
          <p:cNvGrpSpPr>
            <a:grpSpLocks/>
          </p:cNvGrpSpPr>
          <p:nvPr/>
        </p:nvGrpSpPr>
        <p:grpSpPr bwMode="gray">
          <a:xfrm>
            <a:off x="8038365" y="352414"/>
            <a:ext cx="763588" cy="996951"/>
            <a:chOff x="4936" y="176"/>
            <a:chExt cx="481" cy="628"/>
          </a:xfrm>
        </p:grpSpPr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7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7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8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8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84" name="LegendLines" hidden="1"/>
          <p:cNvGrpSpPr>
            <a:grpSpLocks/>
          </p:cNvGrpSpPr>
          <p:nvPr/>
        </p:nvGrpSpPr>
        <p:grpSpPr bwMode="gray">
          <a:xfrm>
            <a:off x="7730390" y="352414"/>
            <a:ext cx="1071562" cy="730251"/>
            <a:chOff x="4750" y="176"/>
            <a:chExt cx="675" cy="460"/>
          </a:xfrm>
        </p:grpSpPr>
        <p:sp>
          <p:nvSpPr>
            <p:cNvPr id="130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1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134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135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</p:grpSp>
      <p:grpSp>
        <p:nvGrpSpPr>
          <p:cNvPr id="136" name="McKSticker" hidden="1"/>
          <p:cNvGrpSpPr/>
          <p:nvPr/>
        </p:nvGrpSpPr>
        <p:grpSpPr bwMode="gray">
          <a:xfrm>
            <a:off x="7730293" y="352414"/>
            <a:ext cx="1066894" cy="212366"/>
            <a:chOff x="7673880" y="285750"/>
            <a:chExt cx="1066895" cy="212366"/>
          </a:xfrm>
        </p:grpSpPr>
        <p:sp>
          <p:nvSpPr>
            <p:cNvPr id="137" name="StickerRectangle"/>
            <p:cNvSpPr>
              <a:spLocks noChangeArrowheads="1"/>
            </p:cNvSpPr>
            <p:nvPr/>
          </p:nvSpPr>
          <p:spPr bwMode="gray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34">
                <a:buClr>
                  <a:schemeClr val="tx2"/>
                </a:buClr>
              </a:pPr>
              <a:r>
                <a:rPr lang="en-GB" sz="1200" smtClean="0">
                  <a:solidFill>
                    <a:srgbClr val="808080"/>
                  </a:solidFill>
                </a:rPr>
                <a:t>PRELIMINARY</a:t>
              </a:r>
              <a:endParaRPr lang="en-GB" sz="1200">
                <a:solidFill>
                  <a:srgbClr val="808080"/>
                </a:solidFill>
              </a:endParaRPr>
            </a:p>
          </p:txBody>
        </p:sp>
        <p:cxnSp>
          <p:nvCxnSpPr>
            <p:cNvPr id="138" name="AutoShape 31"/>
            <p:cNvCxnSpPr>
              <a:cxnSpLocks noChangeShapeType="1"/>
              <a:stCxn id="137" idx="2"/>
              <a:endCxn id="137" idx="4"/>
            </p:cNvCxnSpPr>
            <p:nvPr/>
          </p:nvCxnSpPr>
          <p:spPr bwMode="gray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9" name="AutoShape 32"/>
            <p:cNvCxnSpPr>
              <a:cxnSpLocks noChangeShapeType="1"/>
              <a:stCxn id="137" idx="4"/>
              <a:endCxn id="137" idx="6"/>
            </p:cNvCxnSpPr>
            <p:nvPr/>
          </p:nvCxnSpPr>
          <p:spPr bwMode="gray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0" name="LegendMoons" hidden="1"/>
          <p:cNvGrpSpPr/>
          <p:nvPr/>
        </p:nvGrpSpPr>
        <p:grpSpPr bwMode="gray">
          <a:xfrm>
            <a:off x="7971687" y="352414"/>
            <a:ext cx="830431" cy="1306516"/>
            <a:chOff x="6655594" y="273840"/>
            <a:chExt cx="830431" cy="1306516"/>
          </a:xfrm>
        </p:grpSpPr>
        <p:grpSp>
          <p:nvGrpSpPr>
            <p:cNvPr id="141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59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60" name="Arc 39" hidden="1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42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57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8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43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55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6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44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53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4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45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146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148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sp>
          <p:nvSpPr>
            <p:cNvPr id="149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smtClean="0"/>
                <a:t>Legend</a:t>
              </a:r>
              <a:endParaRPr lang="en-GB" sz="1200"/>
            </a:p>
          </p:txBody>
        </p:sp>
        <p:grpSp>
          <p:nvGrpSpPr>
            <p:cNvPr id="150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51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52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grpSp>
        <p:nvGrpSpPr>
          <p:cNvPr id="161" name="McK Slide Elements" hidden="1"/>
          <p:cNvGrpSpPr>
            <a:grpSpLocks/>
          </p:cNvGrpSpPr>
          <p:nvPr/>
        </p:nvGrpSpPr>
        <p:grpSpPr bwMode="gray">
          <a:xfrm>
            <a:off x="504826" y="5998016"/>
            <a:ext cx="8896350" cy="357188"/>
            <a:chOff x="75" y="3925"/>
            <a:chExt cx="5385" cy="225"/>
          </a:xfrm>
        </p:grpSpPr>
        <p:sp>
          <p:nvSpPr>
            <p:cNvPr id="162" name="McK 4. Footnote"/>
            <p:cNvSpPr txBox="1">
              <a:spLocks noChangeArrowheads="1"/>
            </p:cNvSpPr>
            <p:nvPr/>
          </p:nvSpPr>
          <p:spPr bwMode="gray">
            <a:xfrm>
              <a:off x="75" y="3925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baseline="0" noProof="0" smtClean="0">
                  <a:latin typeface="+mn-lt"/>
                </a:rPr>
                <a:t>1 Footnote</a:t>
              </a:r>
            </a:p>
          </p:txBody>
        </p:sp>
        <p:sp>
          <p:nvSpPr>
            <p:cNvPr id="163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590" indent="-609590" defTabSz="895334">
                <a:tabLst>
                  <a:tab pos="612764" algn="l"/>
                </a:tabLst>
              </a:pPr>
              <a:r>
                <a:rPr lang="en-GB" sz="1000" baseline="0" noProof="0" smtClean="0">
                  <a:solidFill>
                    <a:srgbClr val="000000"/>
                  </a:solidFill>
                  <a:latin typeface="+mn-lt"/>
                </a:rPr>
                <a:t>SOURCE: Source</a:t>
              </a:r>
              <a:endParaRPr lang="en-GB" sz="1000" baseline="0" noProof="0">
                <a:solidFill>
                  <a:srgbClr val="000000"/>
                </a:solidFill>
                <a:latin typeface="+mn-lt"/>
              </a:endParaRPr>
            </a:p>
          </p:txBody>
        </p: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8805714" y="195330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gray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68" name="TextBox 67"/>
          <p:cNvSpPr txBox="1"/>
          <p:nvPr userDrawn="1"/>
        </p:nvSpPr>
        <p:spPr bwMode="gray">
          <a:xfrm>
            <a:off x="8580664" y="6457507"/>
            <a:ext cx="820512" cy="24622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9124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2B45B3-DBC9-47A3-8B03-11FF9C484B02}" type="slidenum">
              <a:rPr kumimoji="0" lang="en-GB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pPr marL="0" marR="0" lvl="0" indent="0" algn="r" defTabSz="91240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/18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6844" rtl="0" eaLnBrk="1" fontAlgn="base" hangingPunct="1">
        <a:spcBef>
          <a:spcPct val="0"/>
        </a:spcBef>
        <a:spcAft>
          <a:spcPct val="0"/>
        </a:spcAft>
        <a:tabLst>
          <a:tab pos="288410" algn="l"/>
        </a:tabLst>
        <a:defRPr sz="2400" b="0" baseline="0">
          <a:solidFill>
            <a:schemeClr val="tx2"/>
          </a:solidFill>
          <a:latin typeface="Deutsche Bank Display" panose="020F0403020203030304" pitchFamily="34" charset="0"/>
          <a:ea typeface="Deutsche Bank Display" panose="020F0403020203030304" pitchFamily="34" charset="0"/>
          <a:cs typeface="Deutsche Bank Display" panose="020F0403020203030304" pitchFamily="34" charset="0"/>
        </a:defRPr>
      </a:lvl1pPr>
      <a:lvl2pPr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602"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201"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5803"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404"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1pPr>
      <a:lvl2pPr marL="206976" indent="-205281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2pPr>
      <a:lvl3pPr marL="488602" indent="-279928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3pPr>
      <a:lvl4pPr marL="656558" indent="-166260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4pPr>
      <a:lvl5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5pPr>
      <a:lvl6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602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201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5803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404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004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1606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206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8807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ursera.org/learn/machine-learning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kaggle.com/competitions" TargetMode="External"/><Relationship Id="rId5" Type="http://schemas.openxmlformats.org/officeDocument/2006/relationships/hyperlink" Target="https://www.fast.ai/" TargetMode="External"/><Relationship Id="rId4" Type="http://schemas.openxmlformats.org/officeDocument/2006/relationships/hyperlink" Target="https://www.coursera.org/specializations/deep-learnin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71005" y="604911"/>
            <a:ext cx="6992987" cy="677108"/>
          </a:xfrm>
        </p:spPr>
        <p:txBody>
          <a:bodyPr/>
          <a:lstStyle/>
          <a:p>
            <a:r>
              <a:rPr lang="en-US" sz="440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BEX.AI</a:t>
            </a:r>
            <a:endParaRPr lang="en-US" sz="4400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gray">
          <a:xfrm>
            <a:off x="671005" y="1282019"/>
            <a:ext cx="6521648" cy="2277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6844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88410" algn="l"/>
              </a:tabLst>
              <a:defRPr sz="28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88602"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77201"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465803"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954404"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2000" b="1" kern="0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endParaRPr lang="en-US" sz="2000" b="1" kern="0" dirty="0" smtClean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r>
              <a:rPr lang="en-US" b="1" i="1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Epoch 1: Linear regression</a:t>
            </a:r>
            <a:endParaRPr lang="en-US" b="1" i="1" kern="0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endParaRPr lang="en-US" sz="2000" b="1" kern="0" dirty="0" smtClean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endParaRPr lang="en-US" sz="2000" b="1" kern="0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r>
              <a:rPr lang="en-US" sz="2000" b="1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Speaker</a:t>
            </a:r>
          </a:p>
          <a:p>
            <a:r>
              <a:rPr lang="en-US" sz="2000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Alexandru Constanti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ost function: univariate linear regress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2" y="2288162"/>
            <a:ext cx="9043107" cy="2462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mtClean="0"/>
              <a:t>Θ</a:t>
            </a:r>
            <a:r>
              <a:rPr lang="en-US" smtClean="0"/>
              <a:t> = parameter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9474" y="1179443"/>
            <a:ext cx="6029325" cy="8191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722" y="2823952"/>
            <a:ext cx="8886825" cy="35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084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ost funct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4" y="3718796"/>
            <a:ext cx="9043107" cy="2462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Choose </a:t>
            </a:r>
            <a:r>
              <a:rPr lang="el-GR" smtClean="0"/>
              <a:t>Θ</a:t>
            </a:r>
            <a:r>
              <a:rPr lang="en-US" baseline="-25000" smtClean="0"/>
              <a:t>0</a:t>
            </a:r>
            <a:r>
              <a:rPr lang="en-US" smtClean="0"/>
              <a:t>,</a:t>
            </a:r>
            <a:r>
              <a:rPr lang="el-GR"/>
              <a:t> </a:t>
            </a:r>
            <a:r>
              <a:rPr lang="el-GR" smtClean="0"/>
              <a:t>Θ</a:t>
            </a:r>
            <a:r>
              <a:rPr lang="en-US" baseline="-25000" smtClean="0"/>
              <a:t>1</a:t>
            </a:r>
            <a:r>
              <a:rPr lang="en-US" smtClean="0"/>
              <a:t> such that </a:t>
            </a:r>
            <a:r>
              <a:rPr lang="en-US" i="1" smtClean="0"/>
              <a:t>h</a:t>
            </a:r>
            <a:r>
              <a:rPr lang="el-GR" i="1" baseline="-25000" smtClean="0"/>
              <a:t>Θ</a:t>
            </a:r>
            <a:r>
              <a:rPr lang="en-US" i="1" smtClean="0"/>
              <a:t>(x)</a:t>
            </a:r>
            <a:r>
              <a:rPr lang="en-US" smtClean="0"/>
              <a:t> is close to </a:t>
            </a:r>
            <a:r>
              <a:rPr lang="en-US" i="1" smtClean="0"/>
              <a:t>y</a:t>
            </a:r>
            <a:r>
              <a:rPr lang="en-US" smtClean="0"/>
              <a:t> for our training examples </a:t>
            </a:r>
            <a:r>
              <a:rPr lang="en-US" i="1" smtClean="0"/>
              <a:t>(x, y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0850" y="833437"/>
            <a:ext cx="3657600" cy="26955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1991" y="4402930"/>
            <a:ext cx="4162425" cy="6762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3040" y="5421869"/>
            <a:ext cx="2600325" cy="6762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6737" y="1833562"/>
            <a:ext cx="2524125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908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ost funct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4" y="915829"/>
            <a:ext cx="9043107" cy="2462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i="1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0637" y="1162050"/>
            <a:ext cx="7324725" cy="453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749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Gradient descent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4" y="915829"/>
            <a:ext cx="9043107" cy="2462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i="1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724" y="576978"/>
            <a:ext cx="8124825" cy="43719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512" y="4764642"/>
            <a:ext cx="6962775" cy="159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970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radient descent: derivative intuit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4" y="4354354"/>
            <a:ext cx="9043107" cy="147732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smtClean="0"/>
              <a:t>La </a:t>
            </a:r>
            <a:r>
              <a:rPr lang="ro-RO" i="1" noProof="1" smtClean="0"/>
              <a:t>fiecare</a:t>
            </a:r>
            <a:r>
              <a:rPr lang="en-US" i="1" dirty="0" smtClean="0"/>
              <a:t> </a:t>
            </a:r>
            <a:r>
              <a:rPr lang="en-US" i="1" smtClean="0"/>
              <a:t>p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Derivata = panta tangentei in acel punc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Derivata = o masura a variatiei functiei</a:t>
            </a:r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584" y="1055966"/>
            <a:ext cx="4558977" cy="28860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0312" y="4110751"/>
            <a:ext cx="3019425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854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radient descent</a:t>
            </a:r>
            <a:r>
              <a:rPr lang="en-GB" smtClean="0"/>
              <a:t>: algorithm overview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912" y="1172308"/>
            <a:ext cx="8934450" cy="24003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3762" y="3890962"/>
            <a:ext cx="6000750" cy="242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6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Multivariate linear regress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5" y="3749699"/>
            <a:ext cx="9043107" cy="172354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n = number of features =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m = number of exam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X</a:t>
            </a:r>
            <a:r>
              <a:rPr lang="en-US" baseline="30000" smtClean="0"/>
              <a:t>i</a:t>
            </a:r>
            <a:r>
              <a:rPr lang="en-US" smtClean="0"/>
              <a:t> = features of the i</a:t>
            </a:r>
            <a:r>
              <a:rPr lang="en-US" baseline="30000" smtClean="0"/>
              <a:t>th</a:t>
            </a:r>
            <a:r>
              <a:rPr lang="en-US" smtClean="0"/>
              <a:t> training exam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X</a:t>
            </a:r>
            <a:r>
              <a:rPr lang="en-US" baseline="30000" smtClean="0"/>
              <a:t>i</a:t>
            </a:r>
            <a:r>
              <a:rPr lang="en-US" baseline="-25000" smtClean="0"/>
              <a:t>j </a:t>
            </a:r>
            <a:r>
              <a:rPr lang="en-US" smtClean="0"/>
              <a:t>= value of feature j in the </a:t>
            </a:r>
            <a:r>
              <a:rPr lang="en-US"/>
              <a:t>i</a:t>
            </a:r>
            <a:r>
              <a:rPr lang="en-US" baseline="30000"/>
              <a:t>th</a:t>
            </a:r>
            <a:r>
              <a:rPr lang="en-US"/>
              <a:t> training example</a:t>
            </a:r>
            <a:endParaRPr lang="en-US" baseline="-25000" smtClean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7273419"/>
              </p:ext>
            </p:extLst>
          </p:nvPr>
        </p:nvGraphicFramePr>
        <p:xfrm>
          <a:off x="452582" y="994621"/>
          <a:ext cx="9043110" cy="257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8622">
                  <a:extLst>
                    <a:ext uri="{9D8B030D-6E8A-4147-A177-3AD203B41FA5}">
                      <a16:colId xmlns:a16="http://schemas.microsoft.com/office/drawing/2014/main" val="1616373473"/>
                    </a:ext>
                  </a:extLst>
                </a:gridCol>
                <a:gridCol w="1808622">
                  <a:extLst>
                    <a:ext uri="{9D8B030D-6E8A-4147-A177-3AD203B41FA5}">
                      <a16:colId xmlns:a16="http://schemas.microsoft.com/office/drawing/2014/main" val="2604383550"/>
                    </a:ext>
                  </a:extLst>
                </a:gridCol>
                <a:gridCol w="1808622">
                  <a:extLst>
                    <a:ext uri="{9D8B030D-6E8A-4147-A177-3AD203B41FA5}">
                      <a16:colId xmlns:a16="http://schemas.microsoft.com/office/drawing/2014/main" val="4208462035"/>
                    </a:ext>
                  </a:extLst>
                </a:gridCol>
                <a:gridCol w="1808622">
                  <a:extLst>
                    <a:ext uri="{9D8B030D-6E8A-4147-A177-3AD203B41FA5}">
                      <a16:colId xmlns:a16="http://schemas.microsoft.com/office/drawing/2014/main" val="87784637"/>
                    </a:ext>
                  </a:extLst>
                </a:gridCol>
                <a:gridCol w="1808622">
                  <a:extLst>
                    <a:ext uri="{9D8B030D-6E8A-4147-A177-3AD203B41FA5}">
                      <a16:colId xmlns:a16="http://schemas.microsoft.com/office/drawing/2014/main" val="151660995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Size in feet</a:t>
                      </a:r>
                      <a:r>
                        <a:rPr lang="en-US" baseline="30000" smtClean="0">
                          <a:latin typeface="Deutsche Bank Display" panose="020F0403020203030304"/>
                        </a:rPr>
                        <a:t>2</a:t>
                      </a:r>
                      <a:r>
                        <a:rPr lang="en-US" baseline="0" smtClean="0">
                          <a:latin typeface="Deutsche Bank Display" panose="020F0403020203030304"/>
                        </a:rPr>
                        <a:t> (X</a:t>
                      </a:r>
                      <a:r>
                        <a:rPr lang="en-US" baseline="-25000" smtClean="0">
                          <a:latin typeface="Deutsche Bank Display" panose="020F0403020203030304"/>
                        </a:rPr>
                        <a:t>1</a:t>
                      </a:r>
                      <a:r>
                        <a:rPr lang="en-US" baseline="0" smtClean="0">
                          <a:latin typeface="Deutsche Bank Display" panose="020F0403020203030304"/>
                        </a:rPr>
                        <a:t>)</a:t>
                      </a:r>
                      <a:endParaRPr lang="en-US" baseline="30000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smtClean="0">
                          <a:latin typeface="Deutsche Bank Display" panose="020F0403020203030304"/>
                        </a:rPr>
                        <a:t>No. bedrooms (X</a:t>
                      </a:r>
                      <a:r>
                        <a:rPr lang="en-US" baseline="-25000" smtClean="0">
                          <a:latin typeface="Deutsche Bank Display" panose="020F0403020203030304"/>
                        </a:rPr>
                        <a:t>2</a:t>
                      </a:r>
                      <a:r>
                        <a:rPr lang="en-US" baseline="0" smtClean="0">
                          <a:latin typeface="Deutsche Bank Display" panose="020F0403020203030304"/>
                        </a:rPr>
                        <a:t>)</a:t>
                      </a:r>
                      <a:endParaRPr lang="en-US" baseline="0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smtClean="0">
                          <a:latin typeface="Deutsche Bank Display" panose="020F0403020203030304"/>
                        </a:rPr>
                        <a:t>No. floors (X</a:t>
                      </a:r>
                      <a:r>
                        <a:rPr lang="en-US" baseline="-25000" smtClean="0">
                          <a:latin typeface="Deutsche Bank Display" panose="020F0403020203030304"/>
                        </a:rPr>
                        <a:t>3</a:t>
                      </a:r>
                      <a:r>
                        <a:rPr lang="en-US" baseline="0" smtClean="0">
                          <a:latin typeface="Deutsche Bank Display" panose="020F0403020203030304"/>
                        </a:rPr>
                        <a:t>)</a:t>
                      </a:r>
                      <a:endParaRPr lang="en-US" baseline="0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smtClean="0">
                          <a:latin typeface="Deutsche Bank Display" panose="020F0403020203030304"/>
                        </a:rPr>
                        <a:t>Age of home (X</a:t>
                      </a:r>
                      <a:r>
                        <a:rPr lang="en-US" baseline="-25000" smtClean="0">
                          <a:latin typeface="Deutsche Bank Display" panose="020F0403020203030304"/>
                        </a:rPr>
                        <a:t>4</a:t>
                      </a:r>
                      <a:r>
                        <a:rPr lang="en-US" baseline="0" smtClean="0">
                          <a:latin typeface="Deutsche Bank Display" panose="020F0403020203030304"/>
                        </a:rPr>
                        <a:t>)</a:t>
                      </a:r>
                      <a:endParaRPr lang="en-US" baseline="0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Price ($) in 1000’s (y)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226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6431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665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383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4561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469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06134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1532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246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6534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779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120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008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098848"/>
                  </a:ext>
                </a:extLst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582" y="5652766"/>
            <a:ext cx="6153150" cy="5143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8175" y="5714678"/>
            <a:ext cx="1047750" cy="3905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65676" y="4190797"/>
            <a:ext cx="3530016" cy="84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279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Gradient descent for multivariate LR: algorithm overview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9594" y="1172308"/>
            <a:ext cx="5067221" cy="2824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227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Linear regression: tuning &amp; improvements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123110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Feature sca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Tuning the learning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Polynomial feature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584" y="3043237"/>
            <a:ext cx="5208574" cy="1252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934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575" y="836372"/>
            <a:ext cx="8481243" cy="677108"/>
          </a:xfrm>
        </p:spPr>
        <p:txBody>
          <a:bodyPr/>
          <a:lstStyle/>
          <a:p>
            <a:pPr algn="ctr"/>
            <a:r>
              <a:rPr lang="en-US" smtClean="0"/>
              <a:t>Thank you</a:t>
            </a:r>
            <a:br>
              <a:rPr lang="en-US" smtClean="0"/>
            </a:br>
            <a:r>
              <a:rPr lang="en-US" sz="2000" b="1" i="1" smtClean="0"/>
              <a:t>alexandru.constantin@db.com</a:t>
            </a:r>
            <a:endParaRPr lang="de-DE" sz="2000" b="1" i="1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48867" y="3738283"/>
            <a:ext cx="6737742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mtClean="0">
                <a:hlinkClick r:id="rId3"/>
              </a:rPr>
              <a:t>Coursera machine learning course</a:t>
            </a:r>
            <a:r>
              <a:rPr lang="en-US" smtClean="0"/>
              <a:t> (Andrew Ng) </a:t>
            </a:r>
            <a:r>
              <a:rPr lang="en-US" smtClean="0">
                <a:solidFill>
                  <a:srgbClr val="92D050"/>
                </a:solidFill>
              </a:rPr>
              <a:t>FREE</a:t>
            </a:r>
          </a:p>
          <a:p>
            <a:pPr marL="342900" indent="-342900">
              <a:buFont typeface="+mj-lt"/>
              <a:buAutoNum type="arabicPeriod"/>
            </a:pPr>
            <a:r>
              <a:rPr lang="en-US" smtClean="0">
                <a:hlinkClick r:id="rId4"/>
              </a:rPr>
              <a:t>Coursera deeplearning.ai specialization</a:t>
            </a:r>
            <a:r>
              <a:rPr lang="en-US" smtClean="0"/>
              <a:t> (Andrew Ng) $50/month</a:t>
            </a:r>
          </a:p>
          <a:p>
            <a:pPr marL="342900" indent="-342900">
              <a:buFont typeface="+mj-lt"/>
              <a:buAutoNum type="arabicPeriod"/>
            </a:pPr>
            <a:r>
              <a:rPr lang="en-US" smtClean="0">
                <a:hlinkClick r:id="rId5"/>
              </a:rPr>
              <a:t>Fast.AI deep learning courses</a:t>
            </a:r>
            <a:r>
              <a:rPr lang="en-US" smtClean="0"/>
              <a:t> (Jeremy Howard) </a:t>
            </a:r>
            <a:r>
              <a:rPr lang="en-US" smtClean="0">
                <a:solidFill>
                  <a:srgbClr val="92D050"/>
                </a:solidFill>
              </a:rPr>
              <a:t>FREE</a:t>
            </a:r>
          </a:p>
          <a:p>
            <a:pPr marL="342900" indent="-342900">
              <a:buFont typeface="+mj-lt"/>
              <a:buAutoNum type="arabicPeriod"/>
            </a:pPr>
            <a:r>
              <a:rPr lang="en-US" smtClean="0">
                <a:hlinkClick r:id="rId6"/>
              </a:rPr>
              <a:t>Kaggle competitions</a:t>
            </a:r>
            <a:endParaRPr lang="en-US" smtClean="0"/>
          </a:p>
          <a:p>
            <a:pPr marL="342900" indent="-342900">
              <a:buFont typeface="+mj-lt"/>
              <a:buAutoNum type="arabicPeriod"/>
            </a:pPr>
            <a:r>
              <a:rPr lang="en-US" smtClean="0"/>
              <a:t>Read well known scientific papers</a:t>
            </a:r>
          </a:p>
          <a:p>
            <a:pPr marL="342900" indent="-342900">
              <a:buFont typeface="+mj-lt"/>
              <a:buAutoNum type="arabicPeriod"/>
            </a:pPr>
            <a:r>
              <a:rPr lang="en-US" smtClean="0"/>
              <a:t>Read new / state of the art scientific papers</a:t>
            </a:r>
          </a:p>
        </p:txBody>
      </p:sp>
    </p:spTree>
    <p:extLst>
      <p:ext uri="{BB962C8B-B14F-4D97-AF65-F5344CB8AC3E}">
        <p14:creationId xmlns:p14="http://schemas.microsoft.com/office/powerpoint/2010/main" val="1169221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BEX.AI course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49244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smtClean="0">
                <a:solidFill>
                  <a:srgbClr val="FF0000"/>
                </a:solidFill>
              </a:rPr>
              <a:t>Traditional ML</a:t>
            </a:r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b="1" err="1" smtClean="0">
                <a:solidFill>
                  <a:srgbClr val="FF0000"/>
                </a:solidFill>
              </a:rPr>
              <a:t>Supervised</a:t>
            </a:r>
            <a:endParaRPr lang="de-DE" b="1" smtClean="0">
              <a:solidFill>
                <a:srgbClr val="FF0000"/>
              </a:solidFill>
            </a:endParaRPr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smtClean="0">
                <a:solidFill>
                  <a:srgbClr val="FF0000"/>
                </a:solidFill>
              </a:rPr>
              <a:t>Linear </a:t>
            </a:r>
            <a:r>
              <a:rPr lang="de-DE" err="1" smtClean="0">
                <a:solidFill>
                  <a:srgbClr val="FF0000"/>
                </a:solidFill>
              </a:rPr>
              <a:t>regression</a:t>
            </a:r>
            <a:endParaRPr lang="de-DE" smtClean="0">
              <a:solidFill>
                <a:srgbClr val="FF0000"/>
              </a:solidFill>
            </a:endParaRPr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err="1" smtClean="0"/>
              <a:t>Logistic</a:t>
            </a:r>
            <a:r>
              <a:rPr lang="de-DE" smtClean="0"/>
              <a:t> </a:t>
            </a:r>
            <a:r>
              <a:rPr lang="de-DE" err="1" smtClean="0"/>
              <a:t>regression</a:t>
            </a:r>
            <a:endParaRPr lang="de-DE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err="1" smtClean="0"/>
              <a:t>Regularization</a:t>
            </a:r>
            <a:endParaRPr lang="de-DE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smtClean="0"/>
              <a:t>Support </a:t>
            </a:r>
            <a:r>
              <a:rPr lang="de-DE" err="1" smtClean="0"/>
              <a:t>vector</a:t>
            </a:r>
            <a:r>
              <a:rPr lang="de-DE" smtClean="0"/>
              <a:t> </a:t>
            </a:r>
            <a:r>
              <a:rPr lang="de-DE" err="1" smtClean="0"/>
              <a:t>machines</a:t>
            </a:r>
            <a:endParaRPr lang="de-DE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err="1"/>
              <a:t>Optimization</a:t>
            </a:r>
            <a:r>
              <a:rPr lang="de-DE"/>
              <a:t>, </a:t>
            </a:r>
            <a:r>
              <a:rPr lang="de-DE" err="1"/>
              <a:t>best</a:t>
            </a:r>
            <a:r>
              <a:rPr lang="de-DE"/>
              <a:t> </a:t>
            </a:r>
            <a:r>
              <a:rPr lang="de-DE" err="1" smtClean="0"/>
              <a:t>practices</a:t>
            </a:r>
            <a:endParaRPr lang="de-DE" smtClean="0"/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b="1" err="1" smtClean="0">
                <a:solidFill>
                  <a:srgbClr val="FF0000"/>
                </a:solidFill>
              </a:rPr>
              <a:t>Unsupervised</a:t>
            </a:r>
            <a:endParaRPr lang="de-DE" b="1" smtClean="0">
              <a:solidFill>
                <a:srgbClr val="FF0000"/>
              </a:solidFill>
            </a:endParaRPr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smtClean="0"/>
              <a:t>Clustering</a:t>
            </a:r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err="1" smtClean="0"/>
              <a:t>Dimensionality</a:t>
            </a:r>
            <a:r>
              <a:rPr lang="de-DE" smtClean="0"/>
              <a:t> </a:t>
            </a:r>
            <a:r>
              <a:rPr lang="de-DE" err="1" smtClean="0"/>
              <a:t>reduction</a:t>
            </a:r>
            <a:endParaRPr lang="de-DE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err="1" smtClean="0"/>
              <a:t>Anomaly</a:t>
            </a:r>
            <a:r>
              <a:rPr lang="de-DE" smtClean="0"/>
              <a:t> </a:t>
            </a:r>
            <a:r>
              <a:rPr lang="de-DE" err="1" smtClean="0"/>
              <a:t>detection</a:t>
            </a:r>
            <a:endParaRPr lang="de-DE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err="1" smtClean="0"/>
              <a:t>Recommender</a:t>
            </a:r>
            <a:r>
              <a:rPr lang="de-DE" smtClean="0"/>
              <a:t> </a:t>
            </a:r>
            <a:r>
              <a:rPr lang="de-DE" err="1" smtClean="0"/>
              <a:t>systems</a:t>
            </a:r>
            <a:endParaRPr lang="de-DE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err="1" smtClean="0"/>
              <a:t>Deep</a:t>
            </a:r>
            <a:r>
              <a:rPr lang="de-DE" b="1" smtClean="0"/>
              <a:t> ML</a:t>
            </a:r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err="1" smtClean="0"/>
              <a:t>Neural</a:t>
            </a:r>
            <a:r>
              <a:rPr lang="de-DE" smtClean="0"/>
              <a:t> </a:t>
            </a:r>
            <a:r>
              <a:rPr lang="de-DE" err="1" smtClean="0"/>
              <a:t>networks</a:t>
            </a:r>
            <a:r>
              <a:rPr lang="de-DE" smtClean="0"/>
              <a:t>, </a:t>
            </a:r>
            <a:r>
              <a:rPr lang="de-DE" err="1" smtClean="0"/>
              <a:t>backpropagation</a:t>
            </a:r>
            <a:endParaRPr lang="de-DE" smtClean="0"/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smtClean="0"/>
              <a:t>Tuning, </a:t>
            </a:r>
            <a:r>
              <a:rPr lang="de-DE" err="1" smtClean="0"/>
              <a:t>regularization</a:t>
            </a:r>
            <a:r>
              <a:rPr lang="de-DE" smtClean="0"/>
              <a:t>, </a:t>
            </a:r>
            <a:r>
              <a:rPr lang="de-DE" err="1" smtClean="0"/>
              <a:t>optimization</a:t>
            </a:r>
            <a:endParaRPr lang="de-DE" smtClean="0"/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err="1" smtClean="0"/>
              <a:t>Deep</a:t>
            </a:r>
            <a:r>
              <a:rPr lang="de-DE" smtClean="0"/>
              <a:t> ML </a:t>
            </a:r>
            <a:r>
              <a:rPr lang="de-DE" err="1" smtClean="0"/>
              <a:t>workflow</a:t>
            </a:r>
            <a:endParaRPr lang="de-DE" smtClean="0"/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err="1" smtClean="0"/>
              <a:t>Convolutional</a:t>
            </a:r>
            <a:r>
              <a:rPr lang="de-DE" smtClean="0"/>
              <a:t> </a:t>
            </a:r>
            <a:r>
              <a:rPr lang="de-DE" err="1" smtClean="0"/>
              <a:t>neural</a:t>
            </a:r>
            <a:r>
              <a:rPr lang="de-DE" smtClean="0"/>
              <a:t> </a:t>
            </a:r>
            <a:r>
              <a:rPr lang="de-DE" err="1" smtClean="0"/>
              <a:t>networks</a:t>
            </a:r>
            <a:r>
              <a:rPr lang="de-DE" smtClean="0"/>
              <a:t> (CNNs)</a:t>
            </a:r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err="1" smtClean="0"/>
              <a:t>Sequence</a:t>
            </a:r>
            <a:r>
              <a:rPr lang="de-DE" smtClean="0"/>
              <a:t> </a:t>
            </a:r>
            <a:r>
              <a:rPr lang="de-DE" err="1" smtClean="0"/>
              <a:t>models</a:t>
            </a:r>
            <a:r>
              <a:rPr lang="de-DE" smtClean="0"/>
              <a:t> (RNNs)</a:t>
            </a:r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smtClean="0"/>
              <a:t>(G)ANs, </a:t>
            </a:r>
            <a:r>
              <a:rPr lang="de-DE" err="1" smtClean="0"/>
              <a:t>autoencoders</a:t>
            </a:r>
            <a:r>
              <a:rPr lang="de-DE" smtClean="0"/>
              <a:t>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mtClean="0"/>
              <a:t>Reinforcement </a:t>
            </a:r>
            <a:r>
              <a:rPr lang="de-DE" err="1" smtClean="0"/>
              <a:t>learning</a:t>
            </a:r>
            <a:r>
              <a:rPr lang="de-DE" smtClean="0"/>
              <a:t>*</a:t>
            </a:r>
          </a:p>
        </p:txBody>
      </p:sp>
      <p:pic>
        <p:nvPicPr>
          <p:cNvPr id="1061890" name="Picture 2" descr="Image result for python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205" y="1148847"/>
            <a:ext cx="1614535" cy="1807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2" name="Picture 4" descr="Image result for scikit lear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1588" y="1284357"/>
            <a:ext cx="2972052" cy="1599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4" name="Picture 6" descr="Image result for kera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672" y="3973852"/>
            <a:ext cx="3037968" cy="88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6" name="Picture 8" descr="Image result for jupyter notebook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445" y="3502331"/>
            <a:ext cx="1824054" cy="1824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34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Supervised learning: house price predict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518" y="1749476"/>
            <a:ext cx="7452811" cy="354745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780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Supervised learning: house price predict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175" y="1776412"/>
            <a:ext cx="7329487" cy="347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043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Supervised learning: house price predict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936" y="1738312"/>
            <a:ext cx="7622139" cy="3767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588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Supervised learning: </a:t>
            </a:r>
            <a:r>
              <a:rPr lang="en-GB" dirty="0" err="1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tumor</a:t>
            </a:r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 type </a:t>
            </a:r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classification</a:t>
            </a:r>
            <a:endParaRPr lang="de-DE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7655" y="1418529"/>
            <a:ext cx="4991100" cy="420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821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Unsupervised learning: examples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270843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Clustering (e.g. news related to the same topi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Organizing computer clus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Social network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Market seg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Clothing size seg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Cocktail party problem</a:t>
            </a:r>
          </a:p>
        </p:txBody>
      </p:sp>
      <p:pic>
        <p:nvPicPr>
          <p:cNvPr id="1061890" name="Picture 2" descr="Image result for cocktail party proble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205" y="3671888"/>
            <a:ext cx="3507581" cy="2338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323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Model representation: notation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4" y="3921149"/>
            <a:ext cx="9043107" cy="123110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m = number of exam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(x, y) = one training exam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(x</a:t>
            </a:r>
            <a:r>
              <a:rPr lang="en-US" baseline="30000" smtClean="0"/>
              <a:t>i</a:t>
            </a:r>
            <a:r>
              <a:rPr lang="en-US" smtClean="0"/>
              <a:t>, </a:t>
            </a:r>
            <a:r>
              <a:rPr lang="en-US" err="1" smtClean="0"/>
              <a:t>y</a:t>
            </a:r>
            <a:r>
              <a:rPr lang="en-US" baseline="30000" err="1" smtClean="0"/>
              <a:t>i</a:t>
            </a:r>
            <a:r>
              <a:rPr lang="en-US" smtClean="0"/>
              <a:t>) = </a:t>
            </a:r>
            <a:r>
              <a:rPr lang="en-US" err="1" smtClean="0"/>
              <a:t>i</a:t>
            </a:r>
            <a:r>
              <a:rPr lang="en-US" baseline="30000" err="1" smtClean="0"/>
              <a:t>th</a:t>
            </a:r>
            <a:r>
              <a:rPr lang="en-US" smtClean="0"/>
              <a:t> training exampl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158513"/>
              </p:ext>
            </p:extLst>
          </p:nvPr>
        </p:nvGraphicFramePr>
        <p:xfrm>
          <a:off x="1672137" y="1139401"/>
          <a:ext cx="6604000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02000">
                  <a:extLst>
                    <a:ext uri="{9D8B030D-6E8A-4147-A177-3AD203B41FA5}">
                      <a16:colId xmlns:a16="http://schemas.microsoft.com/office/drawing/2014/main" val="1616373473"/>
                    </a:ext>
                  </a:extLst>
                </a:gridCol>
                <a:gridCol w="3302000">
                  <a:extLst>
                    <a:ext uri="{9D8B030D-6E8A-4147-A177-3AD203B41FA5}">
                      <a16:colId xmlns:a16="http://schemas.microsoft.com/office/drawing/2014/main" val="151660995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Size in feet</a:t>
                      </a:r>
                      <a:r>
                        <a:rPr lang="en-US" baseline="30000" smtClean="0">
                          <a:latin typeface="Deutsche Bank Display" panose="020F0403020203030304"/>
                        </a:rPr>
                        <a:t>2</a:t>
                      </a:r>
                      <a:r>
                        <a:rPr lang="en-US" baseline="0" smtClean="0">
                          <a:latin typeface="Deutsche Bank Display" panose="020F0403020203030304"/>
                        </a:rPr>
                        <a:t> (X)</a:t>
                      </a:r>
                      <a:endParaRPr lang="en-US" baseline="30000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Price ($) in 1000’s (y)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226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6431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665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383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4561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469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06134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1532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246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6534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779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120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008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>
                          <a:latin typeface="Deutsche Bank Display" panose="020F0403020203030304"/>
                        </a:rPr>
                        <a:t>...</a:t>
                      </a:r>
                      <a:endParaRPr lang="en-US">
                        <a:latin typeface="Deutsche Bank Display" panose="020F04030202030303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0988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487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Model representation: learning</a:t>
            </a:r>
            <a:endParaRPr lang="de-DE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2462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7192" y="1418529"/>
            <a:ext cx="4772025" cy="412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012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3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5.16854450738251000000E+000&quot;&gt;&lt;m_ppcolschidx val=&quot;0&quot;/&gt;&lt;m_rgb r=&quot;ff&quot; g=&quot;38&quot; b=&quot;15&quot;/&gt;&lt;/elem&gt;&lt;elem m_fUsage=&quot;7.92107496090000310000E-001&quot;&gt;&lt;m_ppcolschidx val=&quot;0&quot;/&gt;&lt;m_rgb r=&quot;dc&quot; g=&quot;df&quot; b=&quot;db&quot;/&gt;&lt;/elem&gt;&lt;elem m_fUsage=&quot;7.36098929100000080000E-001&quot;&gt;&lt;m_ppcolschidx val=&quot;0&quot;/&gt;&lt;m_rgb r=&quot;e6&quot; g=&quot;e7&quot; b=&quot;e4&quot;/&gt;&lt;/elem&gt;&lt;elem m_fUsage=&quot;5.31441000000000160000E-001&quot;&gt;&lt;m_ppcolschidx val=&quot;0&quot;/&gt;&lt;m_rgb r=&quot;af&quot; g=&quot;b3&quot; b=&quot;aa&quot;/&gt;&lt;/elem&gt;&lt;elem m_fUsage=&quot;4.30467210000000160000E-001&quot;&gt;&lt;m_ppcolschidx val=&quot;0&quot;/&gt;&lt;m_rgb r=&quot;a0&quot; g=&quot;b0&quot; b=&quot;ef&quot;/&gt;&lt;/elem&gt;&lt;elem m_fUsage=&quot;2.82429536481000170000E-001&quot;&gt;&lt;m_ppcolschidx val=&quot;0&quot;/&gt;&lt;m_rgb r=&quot;e3&quot; g=&quot;ef&quot; b=&quot;fd&quot;/&gt;&lt;/elem&gt;&lt;elem m_fUsage=&quot;2.05891132094649100000E-001&quot;&gt;&lt;m_ppcolschidx val=&quot;0&quot;/&gt;&lt;m_rgb r=&quot;ff&quot; g=&quot;42&quot; b=&quot;20&quot;/&gt;&lt;/elem&gt;&lt;/m_vecMRU&gt;&lt;/m_mruColor&gt;&lt;m_mapectfillschemeMRU&gt;&lt;key val=&quot;0&quot;/&gt;&lt;elem&gt;&lt;m_nPartnerID val=&quot;536&quot;/&gt;&lt;m_nIndex val=&quot;0&quot;/&gt;&lt;/elem&gt;&lt;key val=&quot;3&quot;/&gt;&lt;elem&gt;&lt;m_nPartnerID val=&quot;536&quot;/&gt;&lt;m_nIndex val=&quot;2&quot;/&gt;&lt;/elem&gt;&lt;key val=&quot;4&quot;/&gt;&lt;elem&gt;&lt;m_nPartnerID val=&quot;536&quot;/&gt;&lt;m_nIndex val=&quot;0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633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Deutsche Bank_CF_LN916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8296AA"/>
      </a:lt2>
      <a:accent1>
        <a:srgbClr val="193296"/>
      </a:accent1>
      <a:accent2>
        <a:srgbClr val="0092D0"/>
      </a:accent2>
      <a:accent3>
        <a:srgbClr val="961414"/>
      </a:accent3>
      <a:accent4>
        <a:srgbClr val="379B6E"/>
      </a:accent4>
      <a:accent5>
        <a:srgbClr val="FF6600"/>
      </a:accent5>
      <a:accent6>
        <a:srgbClr val="808080"/>
      </a:accent6>
      <a:hlink>
        <a:srgbClr val="961414"/>
      </a:hlink>
      <a:folHlink>
        <a:srgbClr val="379B6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accent3"/>
          </a:solidFill>
          <a:miter lim="800000"/>
          <a:headEnd/>
          <a:tailEnd/>
        </a:ln>
        <a:effectLst/>
      </a:spPr>
      <a:bodyPr lIns="97740" tIns="48870" rIns="97740" bIns="48870"/>
      <a:lstStyle>
        <a:defPPr>
          <a:defRPr sz="1400">
            <a:latin typeface="+mn-lt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8296AA"/>
        </a:lt2>
        <a:accent1>
          <a:srgbClr val="193296"/>
        </a:accent1>
        <a:accent2>
          <a:srgbClr val="0092D0"/>
        </a:accent2>
        <a:accent3>
          <a:srgbClr val="961414"/>
        </a:accent3>
        <a:accent4>
          <a:srgbClr val="379B6E"/>
        </a:accent4>
        <a:accent5>
          <a:srgbClr val="FF6600"/>
        </a:accent5>
        <a:accent6>
          <a:srgbClr val="808080"/>
        </a:accent6>
        <a:hlink>
          <a:srgbClr val="961414"/>
        </a:hlink>
        <a:folHlink>
          <a:srgbClr val="379B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B Base Content Type" ma:contentTypeID="0x010100C777E5E4CC2845A982076CBB472177EA0084EC3842A565054B8662563C4749A2D3" ma:contentTypeVersion="0" ma:contentTypeDescription="DB Base Content Type" ma:contentTypeScope="" ma:versionID="1d47ab25cac456e5104fe63481b8f3a0">
  <xsd:schema xmlns:xsd="http://www.w3.org/2001/XMLSchema" xmlns:xs="http://www.w3.org/2001/XMLSchema" xmlns:p="http://schemas.microsoft.com/office/2006/metadata/properties" xmlns:ns2="B8B25D61-1E3D-4AB5-A5E6-F08535D87094" targetNamespace="http://schemas.microsoft.com/office/2006/metadata/properties" ma:root="true" ma:fieldsID="d7d8dae44e46d0bb052e9b4386f86050" ns2:_="">
    <xsd:import namespace="B8B25D61-1E3D-4AB5-A5E6-F08535D87094"/>
    <xsd:element name="properties">
      <xsd:complexType>
        <xsd:sequence>
          <xsd:element name="documentManagement">
            <xsd:complexType>
              <xsd:all>
                <xsd:element ref="ns2:UserName" minOccurs="0"/>
                <xsd:element ref="ns2:Email" minOccurs="0"/>
                <xsd:element ref="ns2:DBDirID" minOccurs="0"/>
                <xsd:element ref="ns2:BusinessDivision" minOccurs="0"/>
                <xsd:element ref="ns2:BusinessLine" minOccurs="0"/>
                <xsd:element ref="ns2:Department" minOccurs="0"/>
                <xsd:element ref="ns2:Team" minOccurs="0"/>
                <xsd:element ref="ns2:Country" minOccurs="0"/>
                <xsd:element ref="ns2:GroupDivision" minOccurs="0"/>
                <xsd:element ref="ns2:CorporateDivi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B25D61-1E3D-4AB5-A5E6-F08535D87094" elementFormDefault="qualified">
    <xsd:import namespace="http://schemas.microsoft.com/office/2006/documentManagement/types"/>
    <xsd:import namespace="http://schemas.microsoft.com/office/infopath/2007/PartnerControls"/>
    <xsd:element name="UserName" ma:index="8" nillable="true" ma:displayName="UserName" ma:internalName="UserName" ma:readOnly="false">
      <xsd:simpleType>
        <xsd:restriction base="dms:Text"/>
      </xsd:simpleType>
    </xsd:element>
    <xsd:element name="Email" ma:index="9" nillable="true" ma:displayName="Email" ma:internalName="Email" ma:readOnly="false">
      <xsd:simpleType>
        <xsd:restriction base="dms:Text"/>
      </xsd:simpleType>
    </xsd:element>
    <xsd:element name="DBDirID" ma:index="10" nillable="true" ma:displayName="DBDirID" ma:internalName="DBDirID" ma:readOnly="false">
      <xsd:simpleType>
        <xsd:restriction base="dms:Text"/>
      </xsd:simpleType>
    </xsd:element>
    <xsd:element name="BusinessDivision" ma:index="11" nillable="true" ma:displayName="Business Division" ma:internalName="BusinessDivision" ma:readOnly="false">
      <xsd:simpleType>
        <xsd:restriction base="dms:Text"/>
      </xsd:simpleType>
    </xsd:element>
    <xsd:element name="BusinessLine" ma:index="12" nillable="true" ma:displayName="Business Line" ma:internalName="BusinessLine" ma:readOnly="false">
      <xsd:simpleType>
        <xsd:restriction base="dms:Text"/>
      </xsd:simpleType>
    </xsd:element>
    <xsd:element name="Department" ma:index="13" nillable="true" ma:displayName="Department" ma:internalName="Department" ma:readOnly="false">
      <xsd:simpleType>
        <xsd:restriction base="dms:Text"/>
      </xsd:simpleType>
    </xsd:element>
    <xsd:element name="Team" ma:index="14" nillable="true" ma:displayName="Team" ma:internalName="Team" ma:readOnly="false">
      <xsd:simpleType>
        <xsd:restriction base="dms:Text"/>
      </xsd:simpleType>
    </xsd:element>
    <xsd:element name="Country" ma:index="15" nillable="true" ma:displayName="Country" ma:internalName="Country" ma:readOnly="false">
      <xsd:simpleType>
        <xsd:restriction base="dms:Text"/>
      </xsd:simpleType>
    </xsd:element>
    <xsd:element name="GroupDivision" ma:index="16" nillable="true" ma:displayName="Group Division" ma:internalName="GroupDivision" ma:readOnly="false">
      <xsd:simpleType>
        <xsd:restriction base="dms:Text"/>
      </xsd:simpleType>
    </xsd:element>
    <xsd:element name="CorporateDivision" ma:index="17" nillable="true" ma:displayName="Corporate Division" ma:internalName="CorporateDivision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mail xmlns="B8B25D61-1E3D-4AB5-A5E6-F08535D87094">jo.kiernan@db.com</Email>
    <UserName xmlns="B8B25D61-1E3D-4AB5-A5E6-F08535D87094">Kiernan, Jo</UserName>
    <Team xmlns="B8B25D61-1E3D-4AB5-A5E6-F08535D87094" xsi:nil="true"/>
    <Country xmlns="B8B25D61-1E3D-4AB5-A5E6-F08535D87094">United Kingdom</Country>
    <BusinessLine xmlns="B8B25D61-1E3D-4AB5-A5E6-F08535D87094" xsi:nil="true"/>
    <CorporateDivision xmlns="B8B25D61-1E3D-4AB5-A5E6-F08535D87094">CIB - Global Markets</CorporateDivision>
    <DBDirID xmlns="B8B25D61-1E3D-4AB5-A5E6-F08535D87094">2442025</DBDirID>
    <Department xmlns="B8B25D61-1E3D-4AB5-A5E6-F08535D87094" xsi:nil="true"/>
    <GroupDivision xmlns="B8B25D61-1E3D-4AB5-A5E6-F08535D87094">Corporate and Investment Bank (CIB)</GroupDivision>
    <BusinessDivision xmlns="B8B25D61-1E3D-4AB5-A5E6-F08535D8709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7F025E3-455C-432F-8307-4BC84C2993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B25D61-1E3D-4AB5-A5E6-F08535D870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58CA789-A29F-4F39-A182-067652264424}">
  <ds:schemaRefs>
    <ds:schemaRef ds:uri="http://purl.org/dc/elements/1.1/"/>
    <ds:schemaRef ds:uri="http://schemas.microsoft.com/office/2006/documentManagement/types"/>
    <ds:schemaRef ds:uri="http://purl.org/dc/terms/"/>
    <ds:schemaRef ds:uri="B8B25D61-1E3D-4AB5-A5E6-F08535D87094"/>
    <ds:schemaRef ds:uri="http://schemas.microsoft.com/office/2006/metadata/properties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FE28C197-176A-4260-A1A6-843DC09D55E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utsche Bank_CF_LN9160</Template>
  <TotalTime>737</TotalTime>
  <Words>1473</Words>
  <Application>Microsoft Office PowerPoint</Application>
  <PresentationFormat>A4 Paper (210x297 mm)</PresentationFormat>
  <Paragraphs>208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ＭＳ Ｐゴシック</vt:lpstr>
      <vt:lpstr>Arial</vt:lpstr>
      <vt:lpstr>Consolas</vt:lpstr>
      <vt:lpstr>Deutsche Bank Display</vt:lpstr>
      <vt:lpstr>Deutsche Bank Text</vt:lpstr>
      <vt:lpstr>Deutsche Bank_CF_LN9160</vt:lpstr>
      <vt:lpstr>think-cell Slide</vt:lpstr>
      <vt:lpstr>BEX.AI</vt:lpstr>
      <vt:lpstr>BEX.AI course</vt:lpstr>
      <vt:lpstr>Supervised learning: house price prediction</vt:lpstr>
      <vt:lpstr>Supervised learning: house price prediction</vt:lpstr>
      <vt:lpstr>Supervised learning: house price prediction</vt:lpstr>
      <vt:lpstr>Supervised learning: tumor type classification</vt:lpstr>
      <vt:lpstr>Unsupervised learning: examples</vt:lpstr>
      <vt:lpstr>Model representation: notation</vt:lpstr>
      <vt:lpstr>Model representation: learning</vt:lpstr>
      <vt:lpstr>Cost function: univariate linear regression</vt:lpstr>
      <vt:lpstr>Cost function</vt:lpstr>
      <vt:lpstr>Cost function</vt:lpstr>
      <vt:lpstr>Gradient descent</vt:lpstr>
      <vt:lpstr>Gradient descent: derivative intuition</vt:lpstr>
      <vt:lpstr>Gradient descent: algorithm overview</vt:lpstr>
      <vt:lpstr>Multivariate linear regression</vt:lpstr>
      <vt:lpstr>Gradient descent for multivariate LR: algorithm overview</vt:lpstr>
      <vt:lpstr>Linear regression: tuning &amp; improvements</vt:lpstr>
      <vt:lpstr>Thank you alexandru.constantin@db.co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Anurag Pal</dc:creator>
  <cp:keywords>Public</cp:keywords>
  <cp:lastModifiedBy>Alexandru Constantin</cp:lastModifiedBy>
  <cp:revision>10669</cp:revision>
  <cp:lastPrinted>2013-07-31T07:57:48Z</cp:lastPrinted>
  <dcterms:created xsi:type="dcterms:W3CDTF">2013-02-18T11:04:30Z</dcterms:created>
  <dcterms:modified xsi:type="dcterms:W3CDTF">2018-11-07T12:2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VGCompatibilityCheck Run By">
    <vt:lpwstr>Sahaya Ratheesh V</vt:lpwstr>
  </property>
  <property fmtid="{D5CDD505-2E9C-101B-9397-08002B2CF9AE}" pid="11" name="VGCompatibilityCheck Run On ">
    <vt:lpwstr>2/28/2013 12:12:34 PM</vt:lpwstr>
  </property>
  <property fmtid="{D5CDD505-2E9C-101B-9397-08002B2CF9AE}" pid="12" name="TitusGUID">
    <vt:lpwstr>6655b428-7ebd-42a7-8303-0955b32c64ab</vt:lpwstr>
  </property>
  <property fmtid="{D5CDD505-2E9C-101B-9397-08002B2CF9AE}" pid="13" name="aliashDocumentMarking">
    <vt:lpwstr/>
  </property>
  <property fmtid="{D5CDD505-2E9C-101B-9397-08002B2CF9AE}" pid="14" name="PortedBy">
    <vt:lpwstr>Akash Jain</vt:lpwstr>
  </property>
  <property fmtid="{D5CDD505-2E9C-101B-9397-08002B2CF9AE}" pid="15" name="DatePorted">
    <vt:lpwstr>23/04/2013 17:21:12</vt:lpwstr>
  </property>
  <property fmtid="{D5CDD505-2E9C-101B-9397-08002B2CF9AE}" pid="16" name="Office2010WasSaved">
    <vt:lpwstr>1</vt:lpwstr>
  </property>
  <property fmtid="{D5CDD505-2E9C-101B-9397-08002B2CF9AE}" pid="17" name="ContentTypeId">
    <vt:lpwstr>0x010100C777E5E4CC2845A982076CBB472177EA0084EC3842A565054B8662563C4749A2D3</vt:lpwstr>
  </property>
  <property fmtid="{D5CDD505-2E9C-101B-9397-08002B2CF9AE}" pid="18" name="VGCompatibilityCheck Run On">
    <vt:lpwstr>2/28/2013 12:12:34 PM</vt:lpwstr>
  </property>
  <property fmtid="{D5CDD505-2E9C-101B-9397-08002B2CF9AE}" pid="19" name="db.comClassification">
    <vt:lpwstr>Public</vt:lpwstr>
  </property>
</Properties>
</file>